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87"/>
  </p:notesMasterIdLst>
  <p:handoutMasterIdLst>
    <p:handoutMasterId r:id="rId88"/>
  </p:handoutMasterIdLst>
  <p:sldIdLst>
    <p:sldId id="855" r:id="rId5"/>
    <p:sldId id="727" r:id="rId6"/>
    <p:sldId id="301" r:id="rId7"/>
    <p:sldId id="758" r:id="rId8"/>
    <p:sldId id="737" r:id="rId9"/>
    <p:sldId id="760" r:id="rId10"/>
    <p:sldId id="659" r:id="rId11"/>
    <p:sldId id="687" r:id="rId12"/>
    <p:sldId id="656" r:id="rId13"/>
    <p:sldId id="724" r:id="rId14"/>
    <p:sldId id="755" r:id="rId15"/>
    <p:sldId id="688" r:id="rId16"/>
    <p:sldId id="859" r:id="rId17"/>
    <p:sldId id="860" r:id="rId18"/>
    <p:sldId id="861" r:id="rId19"/>
    <p:sldId id="862" r:id="rId20"/>
    <p:sldId id="658" r:id="rId21"/>
    <p:sldId id="695" r:id="rId22"/>
    <p:sldId id="757" r:id="rId23"/>
    <p:sldId id="759" r:id="rId24"/>
    <p:sldId id="763" r:id="rId25"/>
    <p:sldId id="690" r:id="rId26"/>
    <p:sldId id="676" r:id="rId27"/>
    <p:sldId id="764" r:id="rId28"/>
    <p:sldId id="765" r:id="rId29"/>
    <p:sldId id="770" r:id="rId30"/>
    <p:sldId id="771" r:id="rId31"/>
    <p:sldId id="675" r:id="rId32"/>
    <p:sldId id="772" r:id="rId33"/>
    <p:sldId id="751" r:id="rId34"/>
    <p:sldId id="773" r:id="rId35"/>
    <p:sldId id="722" r:id="rId36"/>
    <p:sldId id="701" r:id="rId37"/>
    <p:sldId id="703" r:id="rId38"/>
    <p:sldId id="692" r:id="rId39"/>
    <p:sldId id="698" r:id="rId40"/>
    <p:sldId id="689" r:id="rId41"/>
    <p:sldId id="694" r:id="rId42"/>
    <p:sldId id="704" r:id="rId43"/>
    <p:sldId id="693" r:id="rId44"/>
    <p:sldId id="769" r:id="rId45"/>
    <p:sldId id="767" r:id="rId46"/>
    <p:sldId id="674" r:id="rId47"/>
    <p:sldId id="711" r:id="rId48"/>
    <p:sldId id="731" r:id="rId49"/>
    <p:sldId id="721" r:id="rId50"/>
    <p:sldId id="869" r:id="rId51"/>
    <p:sldId id="874" r:id="rId52"/>
    <p:sldId id="875" r:id="rId53"/>
    <p:sldId id="667" r:id="rId54"/>
    <p:sldId id="697" r:id="rId55"/>
    <p:sldId id="666" r:id="rId56"/>
    <p:sldId id="719" r:id="rId57"/>
    <p:sldId id="718" r:id="rId58"/>
    <p:sldId id="754" r:id="rId59"/>
    <p:sldId id="876" r:id="rId60"/>
    <p:sldId id="877" r:id="rId61"/>
    <p:sldId id="866" r:id="rId62"/>
    <p:sldId id="673" r:id="rId63"/>
    <p:sldId id="729" r:id="rId64"/>
    <p:sldId id="873" r:id="rId65"/>
    <p:sldId id="867" r:id="rId66"/>
    <p:sldId id="677" r:id="rId67"/>
    <p:sldId id="712" r:id="rId68"/>
    <p:sldId id="863" r:id="rId69"/>
    <p:sldId id="713" r:id="rId70"/>
    <p:sldId id="715" r:id="rId71"/>
    <p:sldId id="716" r:id="rId72"/>
    <p:sldId id="865" r:id="rId73"/>
    <p:sldId id="864" r:id="rId74"/>
    <p:sldId id="670" r:id="rId75"/>
    <p:sldId id="871" r:id="rId76"/>
    <p:sldId id="872" r:id="rId77"/>
    <p:sldId id="720" r:id="rId78"/>
    <p:sldId id="734" r:id="rId79"/>
    <p:sldId id="870" r:id="rId80"/>
    <p:sldId id="684" r:id="rId81"/>
    <p:sldId id="671" r:id="rId82"/>
    <p:sldId id="705" r:id="rId83"/>
    <p:sldId id="749" r:id="rId84"/>
    <p:sldId id="750" r:id="rId85"/>
    <p:sldId id="858" r:id="rId86"/>
  </p:sldIdLst>
  <p:sldSz cx="12192000" cy="6858000"/>
  <p:notesSz cx="6858000" cy="9144000"/>
  <p:custDataLst>
    <p:tags r:id="rId8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977" userDrawn="1">
          <p15:clr>
            <a:srgbClr val="A4A3A4"/>
          </p15:clr>
        </p15:guide>
        <p15:guide id="4" orient="horz" pos="1751" userDrawn="1">
          <p15:clr>
            <a:srgbClr val="A4A3A4"/>
          </p15:clr>
        </p15:guide>
        <p15:guide id="5" orient="horz" pos="1661" userDrawn="1">
          <p15:clr>
            <a:srgbClr val="A4A3A4"/>
          </p15:clr>
        </p15:guide>
        <p15:guide id="6" pos="6623" userDrawn="1">
          <p15:clr>
            <a:srgbClr val="A4A3A4"/>
          </p15:clr>
        </p15:guide>
        <p15:guide id="7" pos="876" userDrawn="1">
          <p15:clr>
            <a:srgbClr val="A4A3A4"/>
          </p15:clr>
        </p15:guide>
        <p15:guide id="8" pos="2025" userDrawn="1">
          <p15:clr>
            <a:srgbClr val="A4A3A4"/>
          </p15:clr>
        </p15:guide>
        <p15:guide id="9" pos="3175" userDrawn="1">
          <p15:clr>
            <a:srgbClr val="A4A3A4"/>
          </p15:clr>
        </p15:guide>
        <p15:guide id="10" pos="4324" userDrawn="1">
          <p15:clr>
            <a:srgbClr val="A4A3A4"/>
          </p15:clr>
        </p15:guide>
        <p15:guide id="11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dimir Daskalov" initials="VD" lastIdx="1" clrIdx="0">
    <p:extLst>
      <p:ext uri="{19B8F6BF-5375-455C-9EA6-DF929625EA0E}">
        <p15:presenceInfo xmlns:p15="http://schemas.microsoft.com/office/powerpoint/2012/main" userId="S::vdaskalov@it-economics.de::31f6cf8a-c15f-4f2b-b37c-59f8baa9362d" providerId="AD"/>
      </p:ext>
    </p:extLst>
  </p:cmAuthor>
  <p:cmAuthor id="2" name="Vladimir Daskalov" initials="VD [2]" lastIdx="1" clrIdx="1">
    <p:extLst>
      <p:ext uri="{19B8F6BF-5375-455C-9EA6-DF929625EA0E}">
        <p15:presenceInfo xmlns:p15="http://schemas.microsoft.com/office/powerpoint/2012/main" userId="53b769c101bc515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63057"/>
    <a:srgbClr val="44B84A"/>
    <a:srgbClr val="11BD5F"/>
    <a:srgbClr val="00FA7E"/>
    <a:srgbClr val="282C32"/>
    <a:srgbClr val="7A8890"/>
    <a:srgbClr val="BAC5C8"/>
    <a:srgbClr val="FF0000"/>
    <a:srgbClr val="FFDA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47" autoAdjust="0"/>
    <p:restoredTop sz="80615" autoAdjust="0"/>
  </p:normalViewPr>
  <p:slideViewPr>
    <p:cSldViewPr>
      <p:cViewPr varScale="1">
        <p:scale>
          <a:sx n="126" d="100"/>
          <a:sy n="126" d="100"/>
        </p:scale>
        <p:origin x="1280" y="184"/>
      </p:cViewPr>
      <p:guideLst>
        <p:guide orient="horz" pos="3657"/>
        <p:guide pos="3840"/>
        <p:guide orient="horz" pos="2977"/>
        <p:guide orient="horz" pos="1751"/>
        <p:guide orient="horz" pos="1661"/>
        <p:guide pos="6623"/>
        <p:guide pos="876"/>
        <p:guide pos="2025"/>
        <p:guide pos="3175"/>
        <p:guide pos="4324"/>
        <p:guide pos="54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63" d="100"/>
          <a:sy n="163" d="100"/>
        </p:scale>
        <p:origin x="671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tags" Target="tags/tag1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commentAuthors" Target="commentAuthor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handoutMaster" Target="handoutMasters/handoutMaster1.xml"/><Relationship Id="rId9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viewProps" Target="view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D0EF2-C8D0-4B8C-A956-D1C0479E0667}" type="datetimeFigureOut">
              <a:rPr lang="en-US" smtClean="0"/>
              <a:t>8/2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953F3-2E1D-4E5F-BDCF-D3145FB7E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0778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FFCA88-3532-4672-AC16-195F8C173D0D}" type="datetimeFigureOut">
              <a:rPr lang="en-US" smtClean="0"/>
              <a:t>8/2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4311BC-E19A-401D-8823-B21CC1F1A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5852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8976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159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543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269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pixabay.com</a:t>
            </a:r>
            <a:r>
              <a:rPr lang="en-GB" dirty="0"/>
              <a:t>/images/id-4241785/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76449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40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097114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cessing non existing properties or functions</a:t>
            </a:r>
          </a:p>
        </p:txBody>
      </p:sp>
    </p:spTree>
    <p:extLst>
      <p:ext uri="{BB962C8B-B14F-4D97-AF65-F5344CB8AC3E}">
        <p14:creationId xmlns:p14="http://schemas.microsoft.com/office/powerpoint/2010/main" val="3768643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83110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pixabay.com</a:t>
            </a:r>
            <a:r>
              <a:rPr lang="en-GB" dirty="0"/>
              <a:t>/images/id-3410807/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79732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229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380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" y="0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A4199B4-07D2-BA48-A652-F3A78CD3A9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69535" y="6101765"/>
            <a:ext cx="1762929" cy="54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176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1">
            <a:extLst>
              <a:ext uri="{FF2B5EF4-FFF2-40B4-BE49-F238E27FC236}">
                <a16:creationId xmlns:a16="http://schemas.microsoft.com/office/drawing/2014/main" id="{F7CB2C61-3E1A-0149-9BAA-69BDF7EBDEAA}"/>
              </a:ext>
            </a:extLst>
          </p:cNvPr>
          <p:cNvGrpSpPr/>
          <p:nvPr userDrawn="1"/>
        </p:nvGrpSpPr>
        <p:grpSpPr>
          <a:xfrm>
            <a:off x="-30182" y="-2862"/>
            <a:ext cx="12222182" cy="1487647"/>
            <a:chOff x="-30182" y="-2862"/>
            <a:chExt cx="12222182" cy="1487647"/>
          </a:xfrm>
        </p:grpSpPr>
        <p:sp>
          <p:nvSpPr>
            <p:cNvPr id="8" name="Rechteck 8">
              <a:extLst>
                <a:ext uri="{FF2B5EF4-FFF2-40B4-BE49-F238E27FC236}">
                  <a16:creationId xmlns:a16="http://schemas.microsoft.com/office/drawing/2014/main" id="{6A5094DB-1335-6640-866E-C3DBD9017E63}"/>
                </a:ext>
              </a:extLst>
            </p:cNvPr>
            <p:cNvSpPr/>
            <p:nvPr userDrawn="1"/>
          </p:nvSpPr>
          <p:spPr>
            <a:xfrm>
              <a:off x="0" y="0"/>
              <a:ext cx="12192000" cy="1484783"/>
            </a:xfrm>
            <a:prstGeom prst="rect">
              <a:avLst/>
            </a:prstGeom>
            <a:solidFill>
              <a:srgbClr val="0003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0" i="0" dirty="0">
                <a:latin typeface="Roboto Light" panose="02000000000000000000" pitchFamily="2" charset="0"/>
              </a:endParaRPr>
            </a:p>
          </p:txBody>
        </p:sp>
        <p:pic>
          <p:nvPicPr>
            <p:cNvPr id="9" name="Grafik 9">
              <a:extLst>
                <a:ext uri="{FF2B5EF4-FFF2-40B4-BE49-F238E27FC236}">
                  <a16:creationId xmlns:a16="http://schemas.microsoft.com/office/drawing/2014/main" id="{75004DB0-4580-EA42-A3A4-AEC88770B0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78350"/>
            <a:stretch/>
          </p:blipFill>
          <p:spPr>
            <a:xfrm>
              <a:off x="-30180" y="1"/>
              <a:ext cx="12222178" cy="1484784"/>
            </a:xfrm>
            <a:prstGeom prst="rect">
              <a:avLst/>
            </a:prstGeom>
          </p:spPr>
        </p:pic>
        <p:pic>
          <p:nvPicPr>
            <p:cNvPr id="10" name="Grafik 10">
              <a:extLst>
                <a:ext uri="{FF2B5EF4-FFF2-40B4-BE49-F238E27FC236}">
                  <a16:creationId xmlns:a16="http://schemas.microsoft.com/office/drawing/2014/main" id="{0FC3106E-7AD3-9644-9E3A-A62ED7DF41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78350"/>
            <a:stretch/>
          </p:blipFill>
          <p:spPr>
            <a:xfrm>
              <a:off x="-30182" y="-2862"/>
              <a:ext cx="12222178" cy="1484784"/>
            </a:xfrm>
            <a:prstGeom prst="rect">
              <a:avLst/>
            </a:prstGeom>
          </p:spPr>
        </p:pic>
      </p:grp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46610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474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7" y="1710000"/>
            <a:ext cx="11533768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8237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2887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3561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chemeClr val="tx1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1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7588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rgbClr val="7D735F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4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2602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061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quarter" idx="22"/>
          </p:nvPr>
        </p:nvSpPr>
        <p:spPr>
          <a:xfrm>
            <a:off x="0" y="1700213"/>
            <a:ext cx="12192000" cy="30511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752001"/>
            <a:ext cx="12192000" cy="21141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5013176"/>
            <a:ext cx="5568513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5013176"/>
            <a:ext cx="5568514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65212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5466" y="1710000"/>
            <a:ext cx="3552289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304158" y="1710000"/>
            <a:ext cx="3553404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1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8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0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431920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1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830424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319118" y="1700808"/>
            <a:ext cx="3553404" cy="2241192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2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1579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135999" y="1710000"/>
            <a:ext cx="4056000" cy="514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4055999" y="1710000"/>
            <a:ext cx="4080000" cy="5156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Inhaltsplatzhalter 11"/>
          <p:cNvSpPr>
            <a:spLocks noGrp="1"/>
          </p:cNvSpPr>
          <p:nvPr>
            <p:ph sz="quarter" idx="18" hasCustomPrompt="1"/>
          </p:nvPr>
        </p:nvSpPr>
        <p:spPr>
          <a:xfrm>
            <a:off x="4055997" y="1710000"/>
            <a:ext cx="4079999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9" hasCustomPrompt="1"/>
          </p:nvPr>
        </p:nvSpPr>
        <p:spPr>
          <a:xfrm>
            <a:off x="8135998" y="1710000"/>
            <a:ext cx="4056001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710000"/>
            <a:ext cx="4056000" cy="51562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" y="1710000"/>
            <a:ext cx="4055995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78101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" y="0"/>
            <a:ext cx="12189596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A4199B4-07D2-BA48-A652-F3A78CD3A9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69535" y="6101765"/>
            <a:ext cx="1762929" cy="54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5859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4079776" y="2276872"/>
            <a:ext cx="4032448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1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072700" y="1700808"/>
            <a:ext cx="4039525" cy="648072"/>
          </a:xfrm>
          <a:prstGeom prst="rect">
            <a:avLst/>
          </a:prstGeom>
          <a:solidFill>
            <a:schemeClr val="bg2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" y="1700808"/>
            <a:ext cx="4079777" cy="648072"/>
          </a:xfrm>
          <a:prstGeom prst="rect">
            <a:avLst/>
          </a:prstGeom>
          <a:solidFill>
            <a:srgbClr val="44697D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None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1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8112224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112225" y="1700808"/>
            <a:ext cx="4079776" cy="6480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16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9615953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4221089"/>
            <a:ext cx="5568513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4221089"/>
            <a:ext cx="5568514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Inhaltsplatzhalter 11"/>
          <p:cNvSpPr>
            <a:spLocks noGrp="1"/>
          </p:cNvSpPr>
          <p:nvPr>
            <p:ph sz="quarter" idx="16" hasCustomPrompt="1"/>
          </p:nvPr>
        </p:nvSpPr>
        <p:spPr>
          <a:xfrm>
            <a:off x="335466" y="1700809"/>
            <a:ext cx="5568513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7" hasCustomPrompt="1"/>
          </p:nvPr>
        </p:nvSpPr>
        <p:spPr>
          <a:xfrm>
            <a:off x="6288022" y="1700809"/>
            <a:ext cx="5568514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531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94954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08404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cxnSp>
        <p:nvCxnSpPr>
          <p:cNvPr id="5" name="Gerader Verbinder 6"/>
          <p:cNvCxnSpPr/>
          <p:nvPr userDrawn="1"/>
        </p:nvCxnSpPr>
        <p:spPr>
          <a:xfrm>
            <a:off x="0" y="149400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016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1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</p:spTree>
    <p:extLst>
      <p:ext uri="{BB962C8B-B14F-4D97-AF65-F5344CB8AC3E}">
        <p14:creationId xmlns:p14="http://schemas.microsoft.com/office/powerpoint/2010/main" val="489616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5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</p:spTree>
    <p:extLst>
      <p:ext uri="{BB962C8B-B14F-4D97-AF65-F5344CB8AC3E}">
        <p14:creationId xmlns:p14="http://schemas.microsoft.com/office/powerpoint/2010/main" val="1049275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807968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783632" y="231322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2783632" y="447346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28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22"/>
          </p:nvPr>
        </p:nvSpPr>
        <p:spPr>
          <a:xfrm>
            <a:off x="2783633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quarter" idx="23"/>
          </p:nvPr>
        </p:nvSpPr>
        <p:spPr>
          <a:xfrm>
            <a:off x="2783632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4"/>
          </p:nvPr>
        </p:nvSpPr>
        <p:spPr>
          <a:xfrm>
            <a:off x="2783632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46" name="Straight Connector 4"/>
          <p:cNvCxnSpPr/>
          <p:nvPr userDrawn="1"/>
        </p:nvCxnSpPr>
        <p:spPr>
          <a:xfrm>
            <a:off x="8979594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3"/>
          <p:cNvSpPr>
            <a:spLocks noGrp="1"/>
          </p:cNvSpPr>
          <p:nvPr>
            <p:ph sz="quarter" idx="25"/>
          </p:nvPr>
        </p:nvSpPr>
        <p:spPr>
          <a:xfrm>
            <a:off x="5955259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26"/>
          </p:nvPr>
        </p:nvSpPr>
        <p:spPr>
          <a:xfrm>
            <a:off x="5955258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quarter" idx="27"/>
          </p:nvPr>
        </p:nvSpPr>
        <p:spPr>
          <a:xfrm>
            <a:off x="5955258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28"/>
          </p:nvPr>
        </p:nvSpPr>
        <p:spPr>
          <a:xfrm>
            <a:off x="9123610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quarter" idx="29"/>
          </p:nvPr>
        </p:nvSpPr>
        <p:spPr>
          <a:xfrm>
            <a:off x="9123609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quarter" idx="30"/>
          </p:nvPr>
        </p:nvSpPr>
        <p:spPr>
          <a:xfrm>
            <a:off x="9123609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1396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5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927648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7" name="Rectangle 64"/>
          <p:cNvSpPr/>
          <p:nvPr userDrawn="1"/>
        </p:nvSpPr>
        <p:spPr>
          <a:xfrm>
            <a:off x="815413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55843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/>
        </p:nvCxnSpPr>
        <p:spPr>
          <a:xfrm flipH="1">
            <a:off x="2927650" y="1484784"/>
            <a:ext cx="850322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3"/>
          <p:cNvSpPr>
            <a:spLocks noGrp="1"/>
          </p:cNvSpPr>
          <p:nvPr>
            <p:ph sz="quarter" idx="26"/>
          </p:nvPr>
        </p:nvSpPr>
        <p:spPr>
          <a:xfrm>
            <a:off x="2927648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58" name="Gerade Verbindung 57"/>
          <p:cNvCxnSpPr/>
          <p:nvPr userDrawn="1"/>
        </p:nvCxnSpPr>
        <p:spPr>
          <a:xfrm rot="5400000">
            <a:off x="7248130" y="-1539235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Content Placeholder 3"/>
          <p:cNvSpPr>
            <a:spLocks noGrp="1"/>
          </p:cNvSpPr>
          <p:nvPr>
            <p:ph sz="quarter" idx="31"/>
          </p:nvPr>
        </p:nvSpPr>
        <p:spPr>
          <a:xfrm>
            <a:off x="2927648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64" name="Gerade Verbindung 63"/>
          <p:cNvCxnSpPr/>
          <p:nvPr userDrawn="1"/>
        </p:nvCxnSpPr>
        <p:spPr>
          <a:xfrm rot="5400000">
            <a:off x="7248130" y="-243091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3"/>
          <p:cNvSpPr>
            <a:spLocks noGrp="1"/>
          </p:cNvSpPr>
          <p:nvPr>
            <p:ph sz="quarter" idx="36"/>
          </p:nvPr>
        </p:nvSpPr>
        <p:spPr>
          <a:xfrm>
            <a:off x="2927648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70" name="Gerade Verbindung 69"/>
          <p:cNvCxnSpPr/>
          <p:nvPr userDrawn="1"/>
        </p:nvCxnSpPr>
        <p:spPr>
          <a:xfrm rot="5400000">
            <a:off x="7248130" y="1053053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Content Placeholder 3"/>
          <p:cNvSpPr>
            <a:spLocks noGrp="1"/>
          </p:cNvSpPr>
          <p:nvPr>
            <p:ph sz="quarter" idx="41"/>
          </p:nvPr>
        </p:nvSpPr>
        <p:spPr>
          <a:xfrm>
            <a:off x="2927648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4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42"/>
          </p:nvPr>
        </p:nvSpPr>
        <p:spPr>
          <a:xfrm>
            <a:off x="4751855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76" name="Gerade Verbindung 75"/>
          <p:cNvCxnSpPr/>
          <p:nvPr userDrawn="1"/>
        </p:nvCxnSpPr>
        <p:spPr>
          <a:xfrm>
            <a:off x="6480050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"/>
          <p:cNvSpPr>
            <a:spLocks noGrp="1"/>
          </p:cNvSpPr>
          <p:nvPr>
            <p:ph sz="quarter" idx="43"/>
          </p:nvPr>
        </p:nvSpPr>
        <p:spPr>
          <a:xfrm>
            <a:off x="4751855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8" name="Content Placeholder 3"/>
          <p:cNvSpPr>
            <a:spLocks noGrp="1"/>
          </p:cNvSpPr>
          <p:nvPr>
            <p:ph sz="quarter" idx="44"/>
          </p:nvPr>
        </p:nvSpPr>
        <p:spPr>
          <a:xfrm>
            <a:off x="4751855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9" name="Content Placeholder 3"/>
          <p:cNvSpPr>
            <a:spLocks noGrp="1"/>
          </p:cNvSpPr>
          <p:nvPr>
            <p:ph sz="quarter" idx="45"/>
          </p:nvPr>
        </p:nvSpPr>
        <p:spPr>
          <a:xfrm>
            <a:off x="4751855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0" name="Content Placeholder 3"/>
          <p:cNvSpPr>
            <a:spLocks noGrp="1"/>
          </p:cNvSpPr>
          <p:nvPr>
            <p:ph sz="quarter" idx="46"/>
          </p:nvPr>
        </p:nvSpPr>
        <p:spPr>
          <a:xfrm>
            <a:off x="4751855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1" name="Content Placeholder 3"/>
          <p:cNvSpPr>
            <a:spLocks noGrp="1"/>
          </p:cNvSpPr>
          <p:nvPr>
            <p:ph sz="quarter" idx="47"/>
          </p:nvPr>
        </p:nvSpPr>
        <p:spPr>
          <a:xfrm>
            <a:off x="6576054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82" name="Gerade Verbindung 81"/>
          <p:cNvCxnSpPr/>
          <p:nvPr userDrawn="1"/>
        </p:nvCxnSpPr>
        <p:spPr>
          <a:xfrm>
            <a:off x="8304249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Content Placeholder 3"/>
          <p:cNvSpPr>
            <a:spLocks noGrp="1"/>
          </p:cNvSpPr>
          <p:nvPr>
            <p:ph sz="quarter" idx="48"/>
          </p:nvPr>
        </p:nvSpPr>
        <p:spPr>
          <a:xfrm>
            <a:off x="6576054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4" name="Content Placeholder 3"/>
          <p:cNvSpPr>
            <a:spLocks noGrp="1"/>
          </p:cNvSpPr>
          <p:nvPr>
            <p:ph sz="quarter" idx="49"/>
          </p:nvPr>
        </p:nvSpPr>
        <p:spPr>
          <a:xfrm>
            <a:off x="6576054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5" name="Content Placeholder 3"/>
          <p:cNvSpPr>
            <a:spLocks noGrp="1"/>
          </p:cNvSpPr>
          <p:nvPr>
            <p:ph sz="quarter" idx="50"/>
          </p:nvPr>
        </p:nvSpPr>
        <p:spPr>
          <a:xfrm>
            <a:off x="6576054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6" name="Content Placeholder 3"/>
          <p:cNvSpPr>
            <a:spLocks noGrp="1"/>
          </p:cNvSpPr>
          <p:nvPr>
            <p:ph sz="quarter" idx="51"/>
          </p:nvPr>
        </p:nvSpPr>
        <p:spPr>
          <a:xfrm>
            <a:off x="6576054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7" name="Content Placeholder 3"/>
          <p:cNvSpPr>
            <a:spLocks noGrp="1"/>
          </p:cNvSpPr>
          <p:nvPr>
            <p:ph sz="quarter" idx="52"/>
          </p:nvPr>
        </p:nvSpPr>
        <p:spPr>
          <a:xfrm>
            <a:off x="8400261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cxnSp>
        <p:nvCxnSpPr>
          <p:cNvPr id="88" name="Gerade Verbindung 87"/>
          <p:cNvCxnSpPr/>
          <p:nvPr userDrawn="1"/>
        </p:nvCxnSpPr>
        <p:spPr>
          <a:xfrm>
            <a:off x="10128456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Content Placeholder 3"/>
          <p:cNvSpPr>
            <a:spLocks noGrp="1"/>
          </p:cNvSpPr>
          <p:nvPr>
            <p:ph sz="quarter" idx="53"/>
          </p:nvPr>
        </p:nvSpPr>
        <p:spPr>
          <a:xfrm>
            <a:off x="8400261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0" name="Content Placeholder 3"/>
          <p:cNvSpPr>
            <a:spLocks noGrp="1"/>
          </p:cNvSpPr>
          <p:nvPr>
            <p:ph sz="quarter" idx="54"/>
          </p:nvPr>
        </p:nvSpPr>
        <p:spPr>
          <a:xfrm>
            <a:off x="8400261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1" name="Content Placeholder 3"/>
          <p:cNvSpPr>
            <a:spLocks noGrp="1"/>
          </p:cNvSpPr>
          <p:nvPr>
            <p:ph sz="quarter" idx="55"/>
          </p:nvPr>
        </p:nvSpPr>
        <p:spPr>
          <a:xfrm>
            <a:off x="8400261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2" name="Content Placeholder 3"/>
          <p:cNvSpPr>
            <a:spLocks noGrp="1"/>
          </p:cNvSpPr>
          <p:nvPr>
            <p:ph sz="quarter" idx="56"/>
          </p:nvPr>
        </p:nvSpPr>
        <p:spPr>
          <a:xfrm>
            <a:off x="8400261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3" name="Content Placeholder 3"/>
          <p:cNvSpPr>
            <a:spLocks noGrp="1"/>
          </p:cNvSpPr>
          <p:nvPr>
            <p:ph sz="quarter" idx="57"/>
          </p:nvPr>
        </p:nvSpPr>
        <p:spPr>
          <a:xfrm>
            <a:off x="10224467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5" name="Content Placeholder 3"/>
          <p:cNvSpPr>
            <a:spLocks noGrp="1"/>
          </p:cNvSpPr>
          <p:nvPr>
            <p:ph sz="quarter" idx="58"/>
          </p:nvPr>
        </p:nvSpPr>
        <p:spPr>
          <a:xfrm>
            <a:off x="10224467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6" name="Content Placeholder 3"/>
          <p:cNvSpPr>
            <a:spLocks noGrp="1"/>
          </p:cNvSpPr>
          <p:nvPr>
            <p:ph sz="quarter" idx="59"/>
          </p:nvPr>
        </p:nvSpPr>
        <p:spPr>
          <a:xfrm>
            <a:off x="10224467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7" name="Content Placeholder 3"/>
          <p:cNvSpPr>
            <a:spLocks noGrp="1"/>
          </p:cNvSpPr>
          <p:nvPr>
            <p:ph sz="quarter" idx="60"/>
          </p:nvPr>
        </p:nvSpPr>
        <p:spPr>
          <a:xfrm>
            <a:off x="10224467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8" name="Content Placeholder 3"/>
          <p:cNvSpPr>
            <a:spLocks noGrp="1"/>
          </p:cNvSpPr>
          <p:nvPr>
            <p:ph sz="quarter" idx="61"/>
          </p:nvPr>
        </p:nvSpPr>
        <p:spPr>
          <a:xfrm>
            <a:off x="10224467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9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763194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Mitarbeiterprofi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24575" y="1332000"/>
            <a:ext cx="3441605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Rectangle 1"/>
          <p:cNvSpPr/>
          <p:nvPr userDrawn="1"/>
        </p:nvSpPr>
        <p:spPr>
          <a:xfrm>
            <a:off x="6335185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Funktionale Expertise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0731" y="3752791"/>
            <a:ext cx="5232400" cy="2646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Berufserfahrung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335184" y="3752788"/>
            <a:ext cx="5533028" cy="2646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Relevante Projekte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423591" y="1332001"/>
            <a:ext cx="3442656" cy="261634"/>
          </a:xfrm>
          <a:ln>
            <a:noFill/>
          </a:ln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Akad. Titel. / Position</a:t>
            </a:r>
          </a:p>
        </p:txBody>
      </p:sp>
      <p:sp>
        <p:nvSpPr>
          <p:cNvPr id="1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 hasCustomPrompt="1"/>
          </p:nvPr>
        </p:nvSpPr>
        <p:spPr>
          <a:xfrm>
            <a:off x="2423592" y="1593350"/>
            <a:ext cx="3442654" cy="1898650"/>
          </a:xfrm>
          <a:ln>
            <a:noFill/>
          </a:ln>
        </p:spPr>
        <p:txBody>
          <a:bodyPr lIns="72000" tIns="72000" rIns="72000" bIns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347663" indent="-171450">
              <a:buFont typeface="Arial" panose="020B0604020202020204" pitchFamily="34" charset="0"/>
              <a:buChar char="•"/>
              <a:defRPr sz="1200" baseline="0">
                <a:solidFill>
                  <a:schemeClr val="bg1"/>
                </a:solidFill>
              </a:defRPr>
            </a:lvl2pPr>
            <a:lvl3pPr marL="531812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>
                <a:solidFill>
                  <a:schemeClr val="bg1"/>
                </a:solidFill>
              </a:rPr>
              <a:t>Zweite Ebene</a:t>
            </a:r>
          </a:p>
          <a:p>
            <a:pPr lvl="1"/>
            <a:r>
              <a:rPr lang="de-DE" noProof="0" dirty="0">
                <a:solidFill>
                  <a:schemeClr val="bg1"/>
                </a:solidFill>
              </a:rPr>
              <a:t>Dritte Ebene</a:t>
            </a:r>
            <a:endParaRPr lang="de-DE" noProof="0" dirty="0"/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6334778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40" hasCustomPrompt="1"/>
          </p:nvPr>
        </p:nvSpPr>
        <p:spPr>
          <a:xfrm>
            <a:off x="333046" y="4041775"/>
            <a:ext cx="5533200" cy="23574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41" hasCustomPrompt="1"/>
          </p:nvPr>
        </p:nvSpPr>
        <p:spPr>
          <a:xfrm>
            <a:off x="6335184" y="4041775"/>
            <a:ext cx="5533200" cy="235814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335465" y="6525344"/>
            <a:ext cx="1728192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bg2"/>
                </a:solidFill>
              </a:rPr>
              <a:t>© it-economics 2019</a:t>
            </a:r>
          </a:p>
        </p:txBody>
      </p:sp>
      <p:cxnSp>
        <p:nvCxnSpPr>
          <p:cNvPr id="23" name="Gerader Verbinder 2"/>
          <p:cNvCxnSpPr/>
          <p:nvPr userDrawn="1"/>
        </p:nvCxnSpPr>
        <p:spPr>
          <a:xfrm>
            <a:off x="0" y="1043003"/>
            <a:ext cx="12192000" cy="114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8"/>
          <p:cNvSpPr>
            <a:spLocks noGrp="1"/>
          </p:cNvSpPr>
          <p:nvPr>
            <p:ph type="body" sz="quarter" idx="42" hasCustomPrompt="1"/>
          </p:nvPr>
        </p:nvSpPr>
        <p:spPr>
          <a:xfrm>
            <a:off x="335465" y="468003"/>
            <a:ext cx="8353455" cy="574293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/>
              <a:t>Max Mustermann</a:t>
            </a:r>
            <a:endParaRPr lang="en-GB" noProof="0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096000" y="3752791"/>
            <a:ext cx="0" cy="264642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9"/>
          <p:cNvSpPr>
            <a:spLocks noGrp="1"/>
          </p:cNvSpPr>
          <p:nvPr>
            <p:ph idx="13"/>
          </p:nvPr>
        </p:nvSpPr>
        <p:spPr>
          <a:xfrm>
            <a:off x="332252" y="1332001"/>
            <a:ext cx="1620000" cy="216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 1"/>
          <p:cNvSpPr/>
          <p:nvPr userDrawn="1"/>
        </p:nvSpPr>
        <p:spPr>
          <a:xfrm>
            <a:off x="9348772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Industrie Erfahrung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43" hasCustomPrompt="1"/>
          </p:nvPr>
        </p:nvSpPr>
        <p:spPr>
          <a:xfrm>
            <a:off x="9348365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72595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0" y="3049"/>
            <a:ext cx="12178757" cy="68539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A4199B4-07D2-BA48-A652-F3A78CD3A9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69535" y="6101765"/>
            <a:ext cx="1762929" cy="54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3585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Referenzen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52"/>
          <p:cNvSpPr>
            <a:spLocks noGrp="1"/>
          </p:cNvSpPr>
          <p:nvPr>
            <p:ph type="body" sz="quarter" idx="32" hasCustomPrompt="1"/>
          </p:nvPr>
        </p:nvSpPr>
        <p:spPr>
          <a:xfrm>
            <a:off x="11146103" y="164465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164425" y="3231161"/>
            <a:ext cx="2692215" cy="1431925"/>
          </a:xfrm>
        </p:spPr>
        <p:txBody>
          <a:bodyPr/>
          <a:lstStyle>
            <a:lvl1pPr marL="0" indent="0">
              <a:buNone/>
              <a:defRPr>
                <a:solidFill>
                  <a:srgbClr val="8FA5B1"/>
                </a:solidFill>
              </a:defRPr>
            </a:lvl1pPr>
          </a:lstStyle>
          <a:p>
            <a:pPr lvl="0"/>
            <a:r>
              <a:rPr lang="en-GB" noProof="0" dirty="0"/>
              <a:t>Keywords,</a:t>
            </a:r>
          </a:p>
          <a:p>
            <a:pPr lvl="0"/>
            <a:r>
              <a:rPr lang="en-GB" noProof="0" dirty="0"/>
              <a:t>Hash tags, </a:t>
            </a:r>
            <a:r>
              <a:rPr lang="de-DE" noProof="0" dirty="0"/>
              <a:t>etc.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30" hasCustomPrompt="1"/>
          </p:nvPr>
        </p:nvSpPr>
        <p:spPr>
          <a:xfrm>
            <a:off x="9148410" y="5680332"/>
            <a:ext cx="2706224" cy="72681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Name Nachname</a:t>
            </a:r>
          </a:p>
          <a:p>
            <a:pPr lvl="0"/>
            <a:r>
              <a:rPr lang="de-DE" noProof="0" dirty="0"/>
              <a:t>name@it-economics.de</a:t>
            </a:r>
          </a:p>
          <a:p>
            <a:pPr lvl="0"/>
            <a:r>
              <a:rPr lang="de-DE" noProof="0" dirty="0"/>
              <a:t>Mobil +49 XX-XXX XX XX</a:t>
            </a:r>
          </a:p>
        </p:txBody>
      </p:sp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362" y="1710000"/>
            <a:ext cx="8324851" cy="1408884"/>
          </a:xfrm>
        </p:spPr>
        <p:txBody>
          <a:bodyPr bIns="3600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Projektbeschreibung:</a:t>
            </a:r>
          </a:p>
          <a:p>
            <a:pPr lvl="0"/>
            <a:r>
              <a:rPr lang="de-DE" dirty="0"/>
              <a:t>Am Anfang bitte nicht umständlich den Kunden umschreiben.</a:t>
            </a:r>
          </a:p>
          <a:p>
            <a:pPr lvl="0"/>
            <a:r>
              <a:rPr lang="de-DE" dirty="0"/>
              <a:t>Direkt auf die Problemstellung eingehen, sowie Fokus auf das Lösungsdesign des Projekts legen (wirkt lebendiger).</a:t>
            </a:r>
          </a:p>
          <a:p>
            <a:pPr lvl="0"/>
            <a:r>
              <a:rPr lang="de-DE" dirty="0"/>
              <a:t>Kunde für Marketing zur Einordnung nennen (Marketing überprüft was extern genannt werden kann).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2" y="468000"/>
            <a:ext cx="11521278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Referenzen</a:t>
            </a:r>
          </a:p>
          <a:p>
            <a:pPr lvl="1"/>
            <a:r>
              <a:rPr lang="de-DE" noProof="0" dirty="0">
                <a:latin typeface="+mj-lt"/>
              </a:rPr>
              <a:t>Titel Projekt</a:t>
            </a:r>
            <a:endParaRPr lang="de-DE" noProof="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9148411" y="5486400"/>
            <a:ext cx="2706641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Ansprechpartner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9536127" y="1716256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Management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536127" y="2026510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Technologie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536127" y="2336763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Fachwissen</a:t>
            </a:r>
          </a:p>
        </p:txBody>
      </p:sp>
      <p:cxnSp>
        <p:nvCxnSpPr>
          <p:cNvPr id="23" name="Gerade Verbindung 22"/>
          <p:cNvCxnSpPr/>
          <p:nvPr userDrawn="1"/>
        </p:nvCxnSpPr>
        <p:spPr>
          <a:xfrm>
            <a:off x="335362" y="323116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 flipV="1">
            <a:off x="8904312" y="1645297"/>
            <a:ext cx="0" cy="4834657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35361" y="3290230"/>
            <a:ext cx="2686084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Projektkennzahlen</a:t>
            </a:r>
          </a:p>
        </p:txBody>
      </p:sp>
      <p:cxnSp>
        <p:nvCxnSpPr>
          <p:cNvPr id="35" name="Gerade Verbindung 34"/>
          <p:cNvCxnSpPr/>
          <p:nvPr userDrawn="1"/>
        </p:nvCxnSpPr>
        <p:spPr>
          <a:xfrm>
            <a:off x="335362" y="481139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 userDrawn="1"/>
        </p:nvSpPr>
        <p:spPr>
          <a:xfrm>
            <a:off x="335361" y="4880879"/>
            <a:ext cx="4074107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Aufgaben</a:t>
            </a:r>
          </a:p>
        </p:txBody>
      </p:sp>
      <p:sp>
        <p:nvSpPr>
          <p:cNvPr id="54" name="Textplatzhalter 52"/>
          <p:cNvSpPr>
            <a:spLocks noGrp="1"/>
          </p:cNvSpPr>
          <p:nvPr>
            <p:ph type="body" sz="quarter" idx="33" hasCustomPrompt="1"/>
          </p:nvPr>
        </p:nvSpPr>
        <p:spPr>
          <a:xfrm>
            <a:off x="11146103" y="194768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5" name="Textplatzhalt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11146103" y="2265158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3177715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Rollen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91870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IT-Umfeld</a:t>
            </a:r>
          </a:p>
        </p:txBody>
      </p:sp>
      <p:sp>
        <p:nvSpPr>
          <p:cNvPr id="56" name="Textplatzhalter 40"/>
          <p:cNvSpPr>
            <a:spLocks noGrp="1"/>
          </p:cNvSpPr>
          <p:nvPr>
            <p:ph type="body" sz="quarter" idx="38"/>
          </p:nvPr>
        </p:nvSpPr>
        <p:spPr>
          <a:xfrm>
            <a:off x="335362" y="5048309"/>
            <a:ext cx="8308837" cy="1358841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platzhalter 40"/>
          <p:cNvSpPr>
            <a:spLocks noGrp="1"/>
          </p:cNvSpPr>
          <p:nvPr>
            <p:ph type="body" sz="quarter" idx="39"/>
          </p:nvPr>
        </p:nvSpPr>
        <p:spPr>
          <a:xfrm>
            <a:off x="599187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40"/>
          </p:nvPr>
        </p:nvSpPr>
        <p:spPr>
          <a:xfrm>
            <a:off x="3177715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41"/>
          </p:nvPr>
        </p:nvSpPr>
        <p:spPr>
          <a:xfrm>
            <a:off x="36356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3" name="Bild 42" descr="Bohne_Managem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678055"/>
            <a:ext cx="202264" cy="199374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995532"/>
            <a:ext cx="202264" cy="184927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377" y="2298562"/>
            <a:ext cx="181249" cy="199374"/>
          </a:xfrm>
          <a:prstGeom prst="rect">
            <a:avLst/>
          </a:prstGeom>
        </p:spPr>
      </p:pic>
      <p:sp>
        <p:nvSpPr>
          <p:cNvPr id="4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0A5AADC0-F5CB-4170-8787-1E39F62FD8A8}"/>
              </a:ext>
            </a:extLst>
          </p:cNvPr>
          <p:cNvSpPr txBox="1"/>
          <p:nvPr userDrawn="1"/>
        </p:nvSpPr>
        <p:spPr>
          <a:xfrm>
            <a:off x="9143075" y="6541044"/>
            <a:ext cx="1728192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bg2"/>
                </a:solidFill>
              </a:rPr>
              <a:t>© it-economics 2019</a:t>
            </a:r>
          </a:p>
        </p:txBody>
      </p:sp>
    </p:spTree>
    <p:extLst>
      <p:ext uri="{BB962C8B-B14F-4D97-AF65-F5344CB8AC3E}">
        <p14:creationId xmlns:p14="http://schemas.microsoft.com/office/powerpoint/2010/main" val="1917016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2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335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2" imgH="282" progId="TCLayout.ActiveDocument.1">
                  <p:embed/>
                </p:oleObj>
              </mc:Choice>
              <mc:Fallback>
                <p:oleObj name="think-cell Folie" r:id="rId3" imgW="282" imgH="28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0" y="3824288"/>
            <a:ext cx="4824536" cy="27421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SzPct val="100000"/>
              <a:buFontTx/>
              <a:buNone/>
              <a:defRPr lang="nb-NO" sz="1600" b="1" i="0" u="none" strike="noStrike" baseline="0" smtClean="0">
                <a:latin typeface="+mj-lt"/>
              </a:defRPr>
            </a:lvl1pPr>
            <a:lvl2pPr marL="320400" indent="-140400">
              <a:spcBef>
                <a:spcPts val="200"/>
              </a:spcBef>
              <a:buFont typeface="Arial"/>
              <a:buChar char="•"/>
              <a:defRPr sz="1400">
                <a:latin typeface="+mn-lt"/>
              </a:defRPr>
            </a:lvl2pPr>
            <a:lvl3pPr marL="492125" indent="-133350">
              <a:spcBef>
                <a:spcPts val="200"/>
              </a:spcBef>
              <a:defRPr sz="1400">
                <a:latin typeface="+mn-lt"/>
              </a:defRPr>
            </a:lvl3pPr>
            <a:lvl4pPr marL="682625" indent="-144463">
              <a:spcBef>
                <a:spcPts val="200"/>
              </a:spcBef>
              <a:defRPr sz="1400">
                <a:latin typeface="+mn-lt"/>
              </a:defRPr>
            </a:lvl4pPr>
            <a:lvl5pPr marL="854075" indent="-134938">
              <a:spcBef>
                <a:spcPts val="200"/>
              </a:spcBef>
              <a:defRPr sz="1400">
                <a:latin typeface="+mn-lt"/>
              </a:defRPr>
            </a:lvl5pPr>
          </a:lstStyle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Cn" panose="020B0506020202050204" pitchFamily="34" charset="0"/>
              </a:rPr>
              <a:t>Kontakt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Cn" panose="020B050602020205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Name Nachnam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it-economics GmbH</a:t>
            </a:r>
          </a:p>
          <a:p>
            <a:r>
              <a:rPr lang="de-DE" sz="1400" b="0" i="0" u="none" strike="noStrike" baseline="0" noProof="0" dirty="0" err="1">
                <a:solidFill>
                  <a:srgbClr val="44697D"/>
                </a:solidFill>
                <a:latin typeface="UniversLTStd-LightCn" panose="020B0406020202040204" pitchFamily="34" charset="0"/>
              </a:rPr>
              <a:t>Bothestr</a:t>
            </a:r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. 11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81675 München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www.it-economics.d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xxxxx@it-economics.de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Mobil +49 XXX XXX XX XXX</a:t>
            </a:r>
            <a:endParaRPr lang="de-DE" noProof="0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72" y="-7228"/>
            <a:ext cx="12209342" cy="3444757"/>
          </a:xfrm>
          <a:prstGeom prst="rect">
            <a:avLst/>
          </a:prstGeom>
        </p:spPr>
      </p:pic>
      <p:sp>
        <p:nvSpPr>
          <p:cNvPr id="8" name="Textfeld 16">
            <a:extLst>
              <a:ext uri="{FF2B5EF4-FFF2-40B4-BE49-F238E27FC236}">
                <a16:creationId xmlns:a16="http://schemas.microsoft.com/office/drawing/2014/main" id="{A6FB2AEE-AA6B-FE41-99B7-05AC5B725C90}"/>
              </a:ext>
            </a:extLst>
          </p:cNvPr>
          <p:cNvSpPr txBox="1"/>
          <p:nvPr userDrawn="1"/>
        </p:nvSpPr>
        <p:spPr>
          <a:xfrm>
            <a:off x="6727727" y="4869160"/>
            <a:ext cx="5271550" cy="15961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/>
            <a: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4x ausgezeichnet als Beste Berater im Branchenreport von brand eins Wissen</a:t>
            </a:r>
            <a:r>
              <a:rPr lang="de-DE" sz="1100" b="0" i="0" kern="1200" baseline="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und Statista.</a:t>
            </a:r>
            <a:b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Kategorie: IT-Strategie &amp;</a:t>
            </a:r>
            <a:r>
              <a:rPr lang="de-DE" sz="1100" b="0" i="0" kern="1200" baseline="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IT-Implementierung</a:t>
            </a:r>
          </a:p>
          <a:p>
            <a:pPr algn="l"/>
            <a:endParaRPr lang="de-DE" sz="1100" b="0" i="0" kern="1200" noProof="1">
              <a:solidFill>
                <a:srgbClr val="124768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de-DE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2019 von Great Place to Work® als «Attraktiver Arbeitgeber» zertifiziert</a:t>
            </a:r>
            <a:br>
              <a:rPr lang="en-US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en-US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Great Place to Work 2016, Deutschland, ITK, Bayern</a:t>
            </a:r>
          </a:p>
          <a:p>
            <a:pPr algn="l"/>
            <a:endParaRPr lang="en-US" sz="1100" b="0" i="0" kern="1200" noProof="1">
              <a:solidFill>
                <a:srgbClr val="124768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-US" sz="1100" b="0" i="0" kern="1200" noProof="1">
                <a:solidFill>
                  <a:srgbClr val="124768"/>
                </a:solidFill>
                <a:latin typeface="Univers LT Std 47 Cn Lt" pitchFamily="2" charset="0"/>
                <a:ea typeface="+mn-ea"/>
                <a:cs typeface="Univers LT Std 47 Cn Lt"/>
              </a:rPr>
              <a:t>Top Arbeitgeber Mittelstand 2019 – Focus Business</a:t>
            </a:r>
          </a:p>
          <a:p>
            <a:pPr algn="l"/>
            <a:endParaRPr lang="en-US" sz="1100" b="0" i="0" kern="1200" noProof="1">
              <a:solidFill>
                <a:srgbClr val="124768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Kununu Open Company und Fair Company 2017 </a:t>
            </a:r>
            <a:endParaRPr lang="de-DE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9DDA78A-1DA3-8241-9079-403ACBF5AB5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27727" y="3659784"/>
            <a:ext cx="3721462" cy="106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236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Fa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/>
          <p:cNvSpPr/>
          <p:nvPr userDrawn="1"/>
        </p:nvSpPr>
        <p:spPr>
          <a:xfrm>
            <a:off x="335362" y="3428999"/>
            <a:ext cx="2712119" cy="3072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9936427" y="1700806"/>
            <a:ext cx="1920213" cy="1248139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768075" y="1700806"/>
            <a:ext cx="2880320" cy="1536171"/>
          </a:xfrm>
          <a:prstGeom prst="rect">
            <a:avLst/>
          </a:prstGeom>
          <a:solidFill>
            <a:srgbClr val="D2D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3311691" y="1700806"/>
            <a:ext cx="3168352" cy="1536171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335361" y="1700809"/>
            <a:ext cx="2712119" cy="1536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5360" y="1700809"/>
            <a:ext cx="271200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360" y="2756925"/>
            <a:ext cx="2712000" cy="48005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3311691" y="1700809"/>
            <a:ext cx="3168352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311691" y="2756925"/>
            <a:ext cx="3168352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6768075" y="1700809"/>
            <a:ext cx="288032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68075" y="2756925"/>
            <a:ext cx="2880320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9936427" y="1700807"/>
            <a:ext cx="1920213" cy="864096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9936427" y="2564904"/>
            <a:ext cx="192021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35360" y="3428999"/>
            <a:ext cx="2712000" cy="192021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  <a:p>
            <a:pPr lvl="0"/>
            <a:r>
              <a:rPr lang="de-DE" dirty="0"/>
              <a:t>Groß</a:t>
            </a:r>
          </a:p>
        </p:txBody>
      </p:sp>
      <p:sp>
        <p:nvSpPr>
          <p:cNvPr id="29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35360" y="5349211"/>
            <a:ext cx="2712000" cy="115212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3311694" y="3428999"/>
            <a:ext cx="2112233" cy="16321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1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311691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2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3311691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3" name="Rechteck 32"/>
          <p:cNvSpPr/>
          <p:nvPr userDrawn="1"/>
        </p:nvSpPr>
        <p:spPr>
          <a:xfrm>
            <a:off x="5711958" y="3428999"/>
            <a:ext cx="3936437" cy="16321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4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711957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5" name="Textplatzhalt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711957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37" name="Textplatzhalt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7824192" y="3428999"/>
            <a:ext cx="1824203" cy="1632180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9936427" y="3140967"/>
            <a:ext cx="1920213" cy="19202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9" name="Textplatzhalt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9936427" y="3140968"/>
            <a:ext cx="1920213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0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9936427" y="4197086"/>
            <a:ext cx="1920213" cy="864095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1" name="Rechteck 40"/>
          <p:cNvSpPr/>
          <p:nvPr userDrawn="1"/>
        </p:nvSpPr>
        <p:spPr>
          <a:xfrm>
            <a:off x="3311691" y="5253201"/>
            <a:ext cx="3168352" cy="12481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2" name="Textplatzhalt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3311691" y="5253203"/>
            <a:ext cx="3168352" cy="86409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3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11691" y="6117298"/>
            <a:ext cx="3168352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6768075" y="5253201"/>
            <a:ext cx="5088565" cy="1248139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5" name="Textplatzhalt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6768075" y="5253201"/>
            <a:ext cx="1728192" cy="1248139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7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496267" y="5253201"/>
            <a:ext cx="336037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8" name="Textplatzhalt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8496267" y="5637243"/>
            <a:ext cx="3360373" cy="864096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50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890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4" grpId="0" animBg="1"/>
      <p:bldP spid="21" grpId="0" animBg="1"/>
      <p:bldP spid="18" grpId="0" animBg="1"/>
      <p:bldP spid="7" grpId="0" animBg="1"/>
      <p:bldP spid="1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animBg="1"/>
      <p:bldP spid="3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53" presetClass="entr" presetSubtype="16" fill="hold" nodeType="click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animBg="1"/>
      <p:bldP spid="3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8F9DB4D-8D80-4D44-A1F9-CBEE866D47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04F4F452-713C-4548-A737-DEE6292318D4}"/>
              </a:ext>
            </a:extLst>
          </p:cNvPr>
          <p:cNvSpPr/>
          <p:nvPr userDrawn="1"/>
        </p:nvSpPr>
        <p:spPr>
          <a:xfrm>
            <a:off x="1531812" y="-1"/>
            <a:ext cx="10660189" cy="4221076"/>
          </a:xfrm>
          <a:prstGeom prst="rect">
            <a:avLst/>
          </a:prstGeom>
          <a:gradFill flip="none" rotWithShape="1">
            <a:gsLst>
              <a:gs pos="54000">
                <a:srgbClr val="00000A">
                  <a:alpha val="0"/>
                </a:srgbClr>
              </a:gs>
              <a:gs pos="100000">
                <a:srgbClr val="00000A"/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B796D3CE-9AB1-9E44-92DC-FF2932C6DB24}"/>
              </a:ext>
            </a:extLst>
          </p:cNvPr>
          <p:cNvSpPr/>
          <p:nvPr userDrawn="1"/>
        </p:nvSpPr>
        <p:spPr>
          <a:xfrm>
            <a:off x="-27684" y="0"/>
            <a:ext cx="12192000" cy="6858000"/>
          </a:xfrm>
          <a:prstGeom prst="rect">
            <a:avLst/>
          </a:prstGeom>
          <a:gradFill>
            <a:gsLst>
              <a:gs pos="45000">
                <a:srgbClr val="00000A">
                  <a:alpha val="27000"/>
                </a:srgbClr>
              </a:gs>
              <a:gs pos="7000">
                <a:srgbClr val="00000A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AD8C577-5FBB-C743-BAB9-EB1196CE29CD}"/>
              </a:ext>
            </a:extLst>
          </p:cNvPr>
          <p:cNvSpPr txBox="1"/>
          <p:nvPr userDrawn="1"/>
        </p:nvSpPr>
        <p:spPr>
          <a:xfrm>
            <a:off x="334820" y="3827013"/>
            <a:ext cx="11553968" cy="576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0" indent="0" algn="ctr">
              <a:buFontTx/>
              <a:buNone/>
            </a:pPr>
            <a:r>
              <a:rPr lang="en-GB" sz="2800" b="0" i="0" noProof="0" dirty="0">
                <a:solidFill>
                  <a:schemeClr val="bg1"/>
                </a:solidFill>
                <a:latin typeface="+mn-lt"/>
              </a:rPr>
              <a:t>herald the digital futur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38FCEB5-6EAF-3F41-9174-E2A83F6E581A}"/>
              </a:ext>
            </a:extLst>
          </p:cNvPr>
          <p:cNvSpPr txBox="1"/>
          <p:nvPr userDrawn="1"/>
        </p:nvSpPr>
        <p:spPr>
          <a:xfrm>
            <a:off x="334820" y="2555840"/>
            <a:ext cx="11553968" cy="9146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Tx/>
              <a:buNone/>
            </a:pPr>
            <a:r>
              <a:rPr lang="en-GB" sz="4400" b="0" i="0" noProof="0" dirty="0">
                <a:solidFill>
                  <a:schemeClr val="bg1"/>
                </a:solidFill>
                <a:latin typeface="+mj-lt"/>
              </a:rPr>
              <a:t>Contact</a:t>
            </a: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AFE96102-753D-2045-94CC-AEEE0E0BB2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4392" y="277692"/>
            <a:ext cx="2264935" cy="703036"/>
          </a:xfrm>
          <a:prstGeom prst="rect">
            <a:avLst/>
          </a:prstGeom>
          <a:effectLst>
            <a:outerShdw blurRad="711200" dir="5400000" algn="ctr" rotWithShape="0">
              <a:srgbClr val="000000"/>
            </a:outerShdw>
          </a:effectLst>
        </p:spPr>
      </p:pic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F9A584E9-A328-D341-AD84-8A082D62E018}"/>
              </a:ext>
            </a:extLst>
          </p:cNvPr>
          <p:cNvCxnSpPr/>
          <p:nvPr userDrawn="1"/>
        </p:nvCxnSpPr>
        <p:spPr>
          <a:xfrm>
            <a:off x="4151784" y="3645024"/>
            <a:ext cx="3888432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6384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2" imgH="282" progId="TCLayout.ActiveDocument.1">
                  <p:embed/>
                </p:oleObj>
              </mc:Choice>
              <mc:Fallback>
                <p:oleObj name="think-cell Folie" r:id="rId5" imgW="282" imgH="28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20">
            <a:extLst>
              <a:ext uri="{FF2B5EF4-FFF2-40B4-BE49-F238E27FC236}">
                <a16:creationId xmlns:a16="http://schemas.microsoft.com/office/drawing/2014/main" id="{ACF5A5A9-9B7F-3144-8EE7-0B4EE381DB21}"/>
              </a:ext>
            </a:extLst>
          </p:cNvPr>
          <p:cNvSpPr txBox="1"/>
          <p:nvPr userDrawn="1"/>
        </p:nvSpPr>
        <p:spPr>
          <a:xfrm>
            <a:off x="334820" y="4755722"/>
            <a:ext cx="11553968" cy="18245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it-economics GmbH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Bothestr. 11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81675 Munich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www.it-economics.com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79065DD-D1D2-C244-B407-F00697F44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12159" y="4755722"/>
            <a:ext cx="8576629" cy="92602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114000"/>
              </a:lnSpc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Roboto Light" panose="02000000000000000000" pitchFamily="2" charset="0"/>
              </a:defRPr>
            </a:lvl1pPr>
          </a:lstStyle>
          <a:p>
            <a:pPr lvl="0"/>
            <a:r>
              <a:rPr lang="en-GB" noProof="0" dirty="0"/>
              <a:t>Name Surname</a:t>
            </a:r>
          </a:p>
          <a:p>
            <a:pPr lvl="0"/>
            <a:r>
              <a:rPr lang="en-GB" noProof="0" dirty="0"/>
              <a:t>Email address</a:t>
            </a:r>
          </a:p>
          <a:p>
            <a:pPr lvl="0"/>
            <a:r>
              <a:rPr lang="en-GB" noProof="0" dirty="0"/>
              <a:t>Phone numb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873BDCC-5120-994F-8ED9-758A35ECB9CB}"/>
              </a:ext>
            </a:extLst>
          </p:cNvPr>
          <p:cNvSpPr txBox="1"/>
          <p:nvPr userDrawn="1"/>
        </p:nvSpPr>
        <p:spPr>
          <a:xfrm>
            <a:off x="335360" y="6525344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000" b="0" i="0" dirty="0">
                <a:solidFill>
                  <a:schemeClr val="bg1"/>
                </a:solidFill>
                <a:latin typeface="Roboto Light" panose="02000000000000000000" pitchFamily="2" charset="0"/>
              </a:rPr>
              <a:t>© it-economics </a:t>
            </a:r>
            <a:fld id="{14D8EA65-2BF2-9C4E-B2A2-2F64505E2F06}" type="datetimeyyyy">
              <a:rPr lang="de-DE" sz="1000" b="0" i="0" smtClean="0">
                <a:solidFill>
                  <a:schemeClr val="bg1"/>
                </a:solidFill>
                <a:latin typeface="Roboto Light" panose="02000000000000000000" pitchFamily="2" charset="0"/>
              </a:rPr>
              <a:t>2023</a:t>
            </a:fld>
            <a:endParaRPr lang="de-DE" sz="1000" b="0" i="0" dirty="0">
              <a:solidFill>
                <a:schemeClr val="bg1"/>
              </a:solidFill>
              <a:latin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5646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Digitized: Service Offer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221801F7-F378-2B4F-B9D3-CD53D50B1B9B}"/>
              </a:ext>
            </a:extLst>
          </p:cNvPr>
          <p:cNvSpPr/>
          <p:nvPr userDrawn="1"/>
        </p:nvSpPr>
        <p:spPr>
          <a:xfrm>
            <a:off x="6960096" y="0"/>
            <a:ext cx="5231904" cy="2348880"/>
          </a:xfrm>
          <a:prstGeom prst="rect">
            <a:avLst/>
          </a:prstGeom>
          <a:gradFill flip="none" rotWithShape="1">
            <a:gsLst>
              <a:gs pos="54000">
                <a:srgbClr val="00000A">
                  <a:alpha val="0"/>
                </a:srgbClr>
              </a:gs>
              <a:gs pos="100000">
                <a:srgbClr val="00000A"/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4392" y="277692"/>
            <a:ext cx="2264935" cy="703036"/>
          </a:xfrm>
          <a:prstGeom prst="rect">
            <a:avLst/>
          </a:prstGeom>
          <a:effectLst>
            <a:outerShdw blurRad="711200" dir="5400000" algn="ctr" rotWithShape="0">
              <a:srgbClr val="000000"/>
            </a:outerShdw>
          </a:effectLst>
        </p:spPr>
      </p:pic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E8D13827-2454-FB42-AC10-A76996C70AB1}"/>
              </a:ext>
            </a:extLst>
          </p:cNvPr>
          <p:cNvCxnSpPr/>
          <p:nvPr userDrawn="1"/>
        </p:nvCxnSpPr>
        <p:spPr>
          <a:xfrm>
            <a:off x="4151784" y="3645024"/>
            <a:ext cx="3888432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DE4A507-0E00-6846-9687-1734D9D57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4823" y="277813"/>
            <a:ext cx="2263776" cy="703262"/>
          </a:xfrm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ent logo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85F059B-B46B-CE43-A415-34CED95F59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2709728"/>
            <a:ext cx="11553967" cy="74981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 anchorCtr="0">
            <a:spAutoFit/>
          </a:bodyPr>
          <a:lstStyle>
            <a:lvl1pPr marL="0" indent="0" algn="ctr">
              <a:spcBef>
                <a:spcPts val="300"/>
              </a:spcBef>
              <a:buNone/>
              <a:defRPr sz="4400" b="0" i="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le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presentation</a:t>
            </a:r>
            <a:endParaRPr lang="de-DE" noProof="0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1623B906-99E6-FE4A-9C58-4DFC2F1BC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823" y="3830509"/>
            <a:ext cx="11553966" cy="503590"/>
          </a:xfrm>
        </p:spPr>
        <p:txBody>
          <a:bodyPr>
            <a:sp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52ADC21-9638-114C-84AF-4D2456EEF05E}"/>
              </a:ext>
            </a:extLst>
          </p:cNvPr>
          <p:cNvSpPr txBox="1"/>
          <p:nvPr userDrawn="1"/>
        </p:nvSpPr>
        <p:spPr>
          <a:xfrm>
            <a:off x="335360" y="6525344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000" b="0" i="0" dirty="0">
                <a:solidFill>
                  <a:schemeClr val="bg1"/>
                </a:solidFill>
                <a:latin typeface="Roboto Light" panose="02000000000000000000" pitchFamily="2" charset="0"/>
              </a:rPr>
              <a:t>© it-economics </a:t>
            </a:r>
            <a:fld id="{14D8EA65-2BF2-9C4E-B2A2-2F64505E2F06}" type="datetimeyyyy">
              <a:rPr lang="de-DE" sz="1000" b="0" i="0" smtClean="0">
                <a:solidFill>
                  <a:schemeClr val="bg1"/>
                </a:solidFill>
                <a:latin typeface="Roboto Light" panose="02000000000000000000" pitchFamily="2" charset="0"/>
              </a:rPr>
              <a:t>2023</a:t>
            </a:fld>
            <a:endParaRPr lang="de-DE" sz="1000" b="0" i="0" dirty="0">
              <a:solidFill>
                <a:schemeClr val="bg1"/>
              </a:solidFill>
              <a:latin typeface="Roboto Light" panose="02000000000000000000" pitchFamily="2" charset="0"/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114A851F-D9DC-8C43-A755-6A2844AAB8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31812" y="6520432"/>
            <a:ext cx="4536504" cy="226591"/>
          </a:xfrm>
        </p:spPr>
        <p:txBody>
          <a:bodyPr wrap="square">
            <a:spAutoFit/>
          </a:bodyPr>
          <a:lstStyle>
            <a:lvl1pPr marL="86400" indent="-86400">
              <a:buClrTx/>
              <a:buFont typeface="Systemschrift Normal"/>
              <a:buChar char="·"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547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" t="1948" r="-6" b="8037"/>
          <a:stretch/>
        </p:blipFill>
        <p:spPr>
          <a:xfrm>
            <a:off x="0" y="681656"/>
            <a:ext cx="12192000" cy="6176344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3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</a:t>
            </a:r>
            <a:r>
              <a:rPr lang="de-DE" sz="1200" dirty="0" err="1">
                <a:solidFill>
                  <a:schemeClr val="tx1"/>
                </a:solidFill>
              </a:rPr>
              <a:t>it-economics</a:t>
            </a:r>
            <a:r>
              <a:rPr lang="de-DE" sz="1200" dirty="0">
                <a:solidFill>
                  <a:schemeClr val="tx1"/>
                </a:solidFill>
              </a:rPr>
              <a:t>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8859" y="133676"/>
            <a:ext cx="1337205" cy="41430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18FCB21-4B6F-884E-A0B1-CCDC64ACE0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1137" y="6028176"/>
            <a:ext cx="1424928" cy="69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899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6136" r="-1" b="3847"/>
          <a:stretch/>
        </p:blipFill>
        <p:spPr>
          <a:xfrm>
            <a:off x="1" y="681656"/>
            <a:ext cx="12192000" cy="6176344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3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</a:t>
            </a:r>
            <a:r>
              <a:rPr lang="de-DE" sz="1200" dirty="0" err="1">
                <a:solidFill>
                  <a:schemeClr val="tx1"/>
                </a:solidFill>
              </a:rPr>
              <a:t>it-economics</a:t>
            </a:r>
            <a:r>
              <a:rPr lang="de-DE" sz="1200" dirty="0">
                <a:solidFill>
                  <a:schemeClr val="tx1"/>
                </a:solidFill>
              </a:rPr>
              <a:t>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8859" y="133676"/>
            <a:ext cx="1337205" cy="41430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AEC879-DC49-4440-BFAF-BE19DD915C7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1137" y="6028176"/>
            <a:ext cx="1424928" cy="69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99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" t="4967" r="-6" b="5018"/>
          <a:stretch/>
        </p:blipFill>
        <p:spPr>
          <a:xfrm>
            <a:off x="1" y="681656"/>
            <a:ext cx="12192000" cy="6176344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3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</a:t>
            </a:r>
            <a:r>
              <a:rPr lang="de-DE" sz="1200" dirty="0" err="1">
                <a:solidFill>
                  <a:schemeClr val="tx1"/>
                </a:solidFill>
              </a:rPr>
              <a:t>it-economics</a:t>
            </a:r>
            <a:r>
              <a:rPr lang="de-DE" sz="1200" dirty="0">
                <a:solidFill>
                  <a:schemeClr val="tx1"/>
                </a:solidFill>
              </a:rPr>
              <a:t> 2019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8859" y="133676"/>
            <a:ext cx="1337205" cy="41430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EE712DB-A7EF-C144-80C1-5150EC4ED2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1137" y="6028176"/>
            <a:ext cx="1424928" cy="69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4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36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90367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2</a:t>
            </a:r>
            <a:endParaRPr lang="en-US" dirty="0"/>
          </a:p>
        </p:txBody>
      </p:sp>
      <p:sp>
        <p:nvSpPr>
          <p:cNvPr id="65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6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7" name="Content Placeholder 35"/>
          <p:cNvSpPr>
            <a:spLocks noGrp="1"/>
          </p:cNvSpPr>
          <p:nvPr>
            <p:ph sz="quarter" idx="11" hasCustomPrompt="1"/>
          </p:nvPr>
        </p:nvSpPr>
        <p:spPr>
          <a:xfrm>
            <a:off x="3369637" y="2768635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3</a:t>
            </a:r>
            <a:endParaRPr lang="en-US" dirty="0"/>
          </a:p>
        </p:txBody>
      </p:sp>
      <p:sp>
        <p:nvSpPr>
          <p:cNvPr id="20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369637" y="363304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</a:t>
            </a:r>
            <a:endParaRPr lang="en-US" dirty="0"/>
          </a:p>
        </p:txBody>
      </p:sp>
      <p:sp>
        <p:nvSpPr>
          <p:cNvPr id="21" name="Content Placeholder 35"/>
          <p:cNvSpPr>
            <a:spLocks noGrp="1"/>
          </p:cNvSpPr>
          <p:nvPr>
            <p:ph sz="quarter" idx="13" hasCustomPrompt="1"/>
          </p:nvPr>
        </p:nvSpPr>
        <p:spPr>
          <a:xfrm>
            <a:off x="3369637" y="4491553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 </a:t>
            </a:r>
            <a:endParaRPr lang="en-US" dirty="0"/>
          </a:p>
        </p:txBody>
      </p:sp>
      <p:sp>
        <p:nvSpPr>
          <p:cNvPr id="9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369637" y="1038721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1</a:t>
            </a:r>
            <a:endParaRPr lang="en-US" dirty="0"/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5" hasCustomPrompt="1"/>
          </p:nvPr>
        </p:nvSpPr>
        <p:spPr>
          <a:xfrm>
            <a:off x="3369637" y="535005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</a:t>
            </a:r>
            <a:endParaRPr lang="en-US" dirty="0"/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5465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028181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1 Headline</a:t>
            </a:r>
          </a:p>
        </p:txBody>
      </p:sp>
      <p:sp>
        <p:nvSpPr>
          <p:cNvPr id="44" name="Content Placeholder 35"/>
          <p:cNvSpPr>
            <a:spLocks noGrp="1"/>
          </p:cNvSpPr>
          <p:nvPr>
            <p:ph sz="quarter" idx="29" hasCustomPrompt="1"/>
          </p:nvPr>
        </p:nvSpPr>
        <p:spPr>
          <a:xfrm>
            <a:off x="3369637" y="2996952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2 Headline</a:t>
            </a:r>
          </a:p>
        </p:txBody>
      </p:sp>
      <p:sp>
        <p:nvSpPr>
          <p:cNvPr id="47" name="Content Placeholder 35"/>
          <p:cNvSpPr>
            <a:spLocks noGrp="1"/>
          </p:cNvSpPr>
          <p:nvPr>
            <p:ph sz="quarter" idx="32" hasCustomPrompt="1"/>
          </p:nvPr>
        </p:nvSpPr>
        <p:spPr>
          <a:xfrm>
            <a:off x="3369637" y="4941168"/>
            <a:ext cx="8822362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3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791744" y="1844827"/>
            <a:ext cx="7920880" cy="892450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3791744" y="3774868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5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20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3791744" y="5791483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2349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59696" y="3681413"/>
            <a:ext cx="8206661" cy="1727200"/>
          </a:xfrm>
        </p:spPr>
        <p:txBody>
          <a:bodyPr lIns="36000" tIns="36000" rIns="36000" bIns="36000"/>
          <a:lstStyle>
            <a:lvl1pPr marL="0" indent="0">
              <a:spcBef>
                <a:spcPts val="300"/>
              </a:spcBef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lang="en-US" sz="2400" kern="120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2pPr>
            <a:lvl3pPr marL="447675" indent="-447675">
              <a:lnSpc>
                <a:spcPct val="100000"/>
              </a:lnSpc>
              <a:spcBef>
                <a:spcPts val="300"/>
              </a:spcBef>
              <a:buNone/>
              <a:tabLst>
                <a:tab pos="804863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 noProof="0" dirty="0"/>
              <a:t>Beispiel Kapitel-Trenner</a:t>
            </a:r>
          </a:p>
          <a:p>
            <a:pPr lvl="1"/>
            <a:r>
              <a:rPr lang="de-DE" noProof="0" dirty="0"/>
              <a:t>Hier steht eine Subheadline</a:t>
            </a:r>
          </a:p>
          <a:p>
            <a:pPr marL="449262" lvl="2" indent="-449262" algn="l" defTabSz="914400" rtl="0" eaLnBrk="1" latinLnBrk="0" hangingPunct="1">
              <a:lnSpc>
                <a:spcPct val="20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noProof="0" dirty="0"/>
              <a:t>Copy text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431704" y="4725143"/>
            <a:ext cx="432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5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861412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473" imgH="476" progId="TCLayout.ActiveDocument.1">
                  <p:embed/>
                </p:oleObj>
              </mc:Choice>
              <mc:Fallback>
                <p:oleObj name="think-cell Folie" r:id="rId37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368" y="468000"/>
            <a:ext cx="8521049" cy="68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 dirty="0"/>
              <a:t>Univers LT Std 57 Cn (</a:t>
            </a:r>
            <a:r>
              <a:rPr lang="en-GB" noProof="0" dirty="0"/>
              <a:t>Headings</a:t>
            </a:r>
            <a:r>
              <a:rPr lang="de-DE" noProof="0" dirty="0"/>
              <a:t>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407369" y="1556792"/>
            <a:ext cx="11370266" cy="5005416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7078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723" r:id="rId7"/>
    <p:sldLayoutId id="2147483720" r:id="rId8"/>
    <p:sldLayoutId id="2147483687" r:id="rId9"/>
    <p:sldLayoutId id="2147483735" r:id="rId10"/>
    <p:sldLayoutId id="2147483798" r:id="rId11"/>
    <p:sldLayoutId id="2147483787" r:id="rId12"/>
    <p:sldLayoutId id="2147483739" r:id="rId13"/>
    <p:sldLayoutId id="2147483740" r:id="rId14"/>
    <p:sldLayoutId id="2147483719" r:id="rId15"/>
    <p:sldLayoutId id="2147483790" r:id="rId16"/>
    <p:sldLayoutId id="2147483736" r:id="rId17"/>
    <p:sldLayoutId id="2147483709" r:id="rId18"/>
    <p:sldLayoutId id="2147483714" r:id="rId19"/>
    <p:sldLayoutId id="2147483713" r:id="rId20"/>
    <p:sldLayoutId id="2147483700" r:id="rId21"/>
    <p:sldLayoutId id="2147483696" r:id="rId22"/>
    <p:sldLayoutId id="2147483788" r:id="rId23"/>
    <p:sldLayoutId id="2147483738" r:id="rId24"/>
    <p:sldLayoutId id="2147483707" r:id="rId25"/>
    <p:sldLayoutId id="2147483789" r:id="rId26"/>
    <p:sldLayoutId id="2147483791" r:id="rId27"/>
    <p:sldLayoutId id="2147483717" r:id="rId28"/>
    <p:sldLayoutId id="2147483799" r:id="rId29"/>
    <p:sldLayoutId id="2147483796" r:id="rId30"/>
    <p:sldLayoutId id="2147483815" r:id="rId31"/>
    <p:sldLayoutId id="2147483792" r:id="rId32"/>
    <p:sldLayoutId id="2147483816" r:id="rId33"/>
    <p:sldLayoutId id="2147483817" r:id="rId3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300"/>
        </a:spcBef>
        <a:buClr>
          <a:srgbClr val="DE8000"/>
        </a:buClr>
        <a:buFont typeface="Univers LT Std 47 Cn Lt" panose="020B0406020202040204" pitchFamily="34" charset="0"/>
        <a:buChar char="»"/>
        <a:defRPr sz="18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1pPr>
      <a:lvl2pPr marL="360363" indent="-18415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2pPr>
      <a:lvl3pPr marL="536575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 userDrawn="1">
          <p15:clr>
            <a:srgbClr val="F26B43"/>
          </p15:clr>
        </p15:guide>
        <p15:guide id="4" orient="horz" pos="1072" userDrawn="1">
          <p15:clr>
            <a:srgbClr val="F26B43"/>
          </p15:clr>
        </p15:guide>
        <p15:guide id="5" orient="horz" pos="4031" userDrawn="1">
          <p15:clr>
            <a:srgbClr val="F26B43"/>
          </p15:clr>
        </p15:guide>
        <p15:guide id="6" pos="3991" userDrawn="1">
          <p15:clr>
            <a:srgbClr val="F26B43"/>
          </p15:clr>
        </p15:guide>
        <p15:guide id="7" orient="horz" pos="2319" userDrawn="1">
          <p15:clr>
            <a:srgbClr val="F26B43"/>
          </p15:clr>
        </p15:guide>
        <p15:guide id="8" orient="horz" pos="2409" userDrawn="1">
          <p15:clr>
            <a:srgbClr val="F26B43"/>
          </p15:clr>
        </p15:guide>
        <p15:guide id="13" orient="horz" pos="300" userDrawn="1">
          <p15:clr>
            <a:srgbClr val="F26B43"/>
          </p15:clr>
        </p15:guide>
        <p15:guide id="14" orient="horz" pos="4178" userDrawn="1">
          <p15:clr>
            <a:srgbClr val="F26B43"/>
          </p15:clr>
        </p15:guide>
        <p15:guide id="15" orient="horz" pos="142" userDrawn="1">
          <p15:clr>
            <a:srgbClr val="F26B43"/>
          </p15:clr>
        </p15:guide>
        <p15:guide id="17" orient="horz" pos="459" userDrawn="1">
          <p15:clr>
            <a:srgbClr val="F26B43"/>
          </p15:clr>
        </p15:guide>
        <p15:guide id="18" pos="3689" userDrawn="1">
          <p15:clr>
            <a:srgbClr val="F26B43"/>
          </p15:clr>
        </p15:guide>
        <p15:guide id="19" orient="horz" pos="2160" userDrawn="1">
          <p15:clr>
            <a:srgbClr val="F26B43"/>
          </p15:clr>
        </p15:guide>
        <p15:guide id="20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chrome.google.com/webstore/detail/react-developer-tools/fmkadmapgofadopljbjfkapdkoienihi?hl=en" TargetMode="Externa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code.visualstudio.com/download" TargetMode="External"/><Relationship Id="rId3" Type="http://schemas.openxmlformats.org/officeDocument/2006/relationships/image" Target="../media/image26.png"/><Relationship Id="rId7" Type="http://schemas.openxmlformats.org/officeDocument/2006/relationships/hyperlink" Target="https://nodejs.org/en/download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hyperlink" Target="https://marketplace.visualstudio.com/items?itemName=nrwl.angular-console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material.io/design/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hyperlink" Target="https://chrome.google.com/webstore/detail/redux-devtools/lmhkpmbekcpmknklioeibfkpmmfibljd" TargetMode="External"/><Relationship Id="rId1" Type="http://schemas.openxmlformats.org/officeDocument/2006/relationships/slideLayout" Target="../slideLayouts/slideLayout10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59549F0-64A3-7143-971F-38BA85A1F5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360" y="2709728"/>
            <a:ext cx="11553967" cy="749812"/>
          </a:xfrm>
        </p:spPr>
        <p:txBody>
          <a:bodyPr/>
          <a:lstStyle/>
          <a:p>
            <a:r>
              <a:rPr lang="de-DE" dirty="0" err="1"/>
              <a:t>React</a:t>
            </a:r>
            <a:r>
              <a:rPr lang="de-DE" dirty="0"/>
              <a:t> </a:t>
            </a:r>
            <a:r>
              <a:rPr lang="de-DE" dirty="0" err="1"/>
              <a:t>Bootcamp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15D3644-CCD3-D041-988B-1AD6158A17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ladimir </a:t>
            </a:r>
            <a:r>
              <a:rPr lang="de-DE" dirty="0" err="1"/>
              <a:t>Daskalov</a:t>
            </a:r>
            <a:r>
              <a:rPr lang="de-DE" dirty="0"/>
              <a:t> &amp; Alexander </a:t>
            </a:r>
            <a:r>
              <a:rPr lang="de-DE" dirty="0" err="1"/>
              <a:t>Kucksdor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6333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837A3D7-FA9C-9C48-A456-2AF297996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GB" dirty="0"/>
              <a:t>Let’s jump right in</a:t>
            </a:r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09196C-BDAB-3847-8198-DFD9BB0F90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72" b="30973"/>
          <a:stretch/>
        </p:blipFill>
        <p:spPr>
          <a:xfrm>
            <a:off x="0" y="1128159"/>
            <a:ext cx="12183362" cy="576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9171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Create React App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427DE-F598-8940-B0CC-410238B15675}"/>
              </a:ext>
            </a:extLst>
          </p:cNvPr>
          <p:cNvSpPr txBox="1"/>
          <p:nvPr/>
        </p:nvSpPr>
        <p:spPr>
          <a:xfrm>
            <a:off x="1146176" y="2322913"/>
            <a:ext cx="9903811" cy="75620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x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create-react-app react-training-app --template typescrip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26C150-032E-B14F-9F6E-18E5504557F0}"/>
              </a:ext>
            </a:extLst>
          </p:cNvPr>
          <p:cNvSpPr txBox="1"/>
          <p:nvPr/>
        </p:nvSpPr>
        <p:spPr>
          <a:xfrm>
            <a:off x="1146176" y="4582348"/>
            <a:ext cx="4951907" cy="10801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cd react-training-app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i</a:t>
            </a:r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start</a:t>
            </a:r>
          </a:p>
          <a:p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0B2A58-0D76-AA4F-A96A-642BD83AC3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87" b="6121"/>
          <a:stretch/>
        </p:blipFill>
        <p:spPr>
          <a:xfrm>
            <a:off x="6888088" y="3786845"/>
            <a:ext cx="3791276" cy="26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1465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lder </a:t>
            </a:r>
            <a:r>
              <a:rPr lang="en-US" dirty="0"/>
              <a:t>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68A099-E8DC-014E-8D15-B3BAF64C6D29}"/>
              </a:ext>
            </a:extLst>
          </p:cNvPr>
          <p:cNvSpPr txBox="1"/>
          <p:nvPr/>
        </p:nvSpPr>
        <p:spPr>
          <a:xfrm>
            <a:off x="11322" y="1484785"/>
            <a:ext cx="12349373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-training-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de_modules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ckage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sconfig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ublic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html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vicon.ico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css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est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css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o.svg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b="1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b="1" dirty="0">
                <a:solidFill>
                  <a:srgbClr val="7A889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s/</a:t>
            </a:r>
            <a:endParaRPr lang="en-US" dirty="0">
              <a:solidFill>
                <a:srgbClr val="880000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b="1" dirty="0">
                <a:solidFill>
                  <a:srgbClr val="7A889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s/</a:t>
            </a:r>
            <a:r>
              <a:rPr lang="en-US" dirty="0">
                <a:solidFill>
                  <a:srgbClr val="88000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219C814-C72C-834A-8562-0509FE21A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088153"/>
              </p:ext>
            </p:extLst>
          </p:nvPr>
        </p:nvGraphicFramePr>
        <p:xfrm>
          <a:off x="3725260" y="2348630"/>
          <a:ext cx="8128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708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6160911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node_modules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All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ackage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Project information and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tsconfig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>
                          <a:solidFill>
                            <a:schemeClr val="bg1"/>
                          </a:solidFill>
                        </a:rPr>
                        <a:t>Typescript compiler configuration</a:t>
                      </a:r>
                      <a:endParaRPr lang="en-US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html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ntry point for the brows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App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oot Compon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096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cs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lobal sty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1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Bootstraps the application (render root component)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4271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mponents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rectory for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314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s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rectory for data models (interfaces only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05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8146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crip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26FC83-349D-5F42-A23C-5CAA38BB30A7}"/>
              </a:ext>
            </a:extLst>
          </p:cNvPr>
          <p:cNvSpPr txBox="1"/>
          <p:nvPr/>
        </p:nvSpPr>
        <p:spPr>
          <a:xfrm>
            <a:off x="3060018" y="2651057"/>
            <a:ext cx="6071964" cy="196476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"scripts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{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star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star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build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build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tes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tes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ejec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eject"</a:t>
            </a:r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,</a:t>
            </a:r>
          </a:p>
          <a:p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E019E5-062D-F84A-B243-F17E22EC9387}"/>
              </a:ext>
            </a:extLst>
          </p:cNvPr>
          <p:cNvSpPr txBox="1"/>
          <p:nvPr/>
        </p:nvSpPr>
        <p:spPr>
          <a:xfrm>
            <a:off x="2675620" y="6508540"/>
            <a:ext cx="6840760" cy="28803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https://</a:t>
            </a:r>
            <a:r>
              <a:rPr lang="en-GB" dirty="0" err="1">
                <a:solidFill>
                  <a:srgbClr val="E06C75"/>
                </a:solidFill>
                <a:latin typeface="Fira Code" panose="020B0809050000020004" pitchFamily="49" charset="0"/>
              </a:rPr>
              <a:t>www.npmjs.com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/package/react-app-rewired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4C22F1-F461-5141-B630-3371D83C40D3}"/>
              </a:ext>
            </a:extLst>
          </p:cNvPr>
          <p:cNvSpPr txBox="1"/>
          <p:nvPr/>
        </p:nvSpPr>
        <p:spPr>
          <a:xfrm>
            <a:off x="4655840" y="6109585"/>
            <a:ext cx="28803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Override webpack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025214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NRWL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427DE-F598-8940-B0CC-410238B15675}"/>
              </a:ext>
            </a:extLst>
          </p:cNvPr>
          <p:cNvSpPr txBox="1"/>
          <p:nvPr/>
        </p:nvSpPr>
        <p:spPr>
          <a:xfrm>
            <a:off x="1797683" y="1812626"/>
            <a:ext cx="8596633" cy="264491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1600" b="1" dirty="0" err="1">
                <a:solidFill>
                  <a:srgbClr val="FFFFFF"/>
                </a:solidFill>
                <a:latin typeface="Fira Code" panose="020B0809050000020004" pitchFamily="49" charset="0"/>
              </a:rPr>
              <a:t>npx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 </a:t>
            </a:r>
            <a:r>
              <a:rPr lang="en-GB" sz="1600" b="1" dirty="0" err="1">
                <a:solidFill>
                  <a:srgbClr val="FFFFFF"/>
                </a:solidFill>
                <a:latin typeface="Fira Code" panose="020B0809050000020004" pitchFamily="49" charset="0"/>
              </a:rPr>
              <a:t>create-nx-workspace@latest</a:t>
            </a:r>
            <a:endParaRPr lang="en-GB" sz="1600" b="1" dirty="0">
              <a:solidFill>
                <a:srgbClr val="FFFFFF"/>
              </a:solidFill>
              <a:latin typeface="Fira Code" panose="020B0809050000020004" pitchFamily="49" charset="0"/>
            </a:endParaRPr>
          </a:p>
          <a:p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ere would you like to create your workspace?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react-training-app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ich stack do you want to use?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react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at framework would you like to use?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none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Integrated 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monorepo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, or standalone project?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standalone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ich bundler would you like to use?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webpack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Test runner to use for end to end (E2E) tests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cypress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Default stylesheet format · </a:t>
            </a:r>
            <a:r>
              <a:rPr lang="en-GB" sz="1600" b="1" dirty="0" err="1">
                <a:solidFill>
                  <a:srgbClr val="FFFFFF"/>
                </a:solidFill>
                <a:latin typeface="Fira Code" panose="020B0809050000020004" pitchFamily="49" charset="0"/>
              </a:rPr>
              <a:t>css</a:t>
            </a:r>
            <a:endParaRPr lang="en-GB" sz="1600" b="1" dirty="0">
              <a:solidFill>
                <a:srgbClr val="FFFFF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Enable distributed caching to make your CI faster · 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N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B45ECA-849B-A446-9A00-D2BBA579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726C150-032E-B14F-9F6E-18E5504557F0}"/>
              </a:ext>
            </a:extLst>
          </p:cNvPr>
          <p:cNvSpPr txBox="1"/>
          <p:nvPr/>
        </p:nvSpPr>
        <p:spPr>
          <a:xfrm>
            <a:off x="1797683" y="5085184"/>
            <a:ext cx="4087808" cy="10801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cd react-training-app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start</a:t>
            </a:r>
          </a:p>
          <a:p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pic>
        <p:nvPicPr>
          <p:cNvPr id="4" name="Picture 3" descr="A blue and white card with a yellow hand and a white letter n&#10;&#10;Description automatically generated">
            <a:extLst>
              <a:ext uri="{FF2B5EF4-FFF2-40B4-BE49-F238E27FC236}">
                <a16:creationId xmlns:a16="http://schemas.microsoft.com/office/drawing/2014/main" id="{FCCF5A38-29D6-D5B8-05DB-CA8D3AA186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284" y="4528976"/>
            <a:ext cx="4460032" cy="219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809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lder </a:t>
            </a:r>
            <a:r>
              <a:rPr lang="en-US" dirty="0"/>
              <a:t>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68A099-E8DC-014E-8D15-B3BAF64C6D29}"/>
              </a:ext>
            </a:extLst>
          </p:cNvPr>
          <p:cNvSpPr txBox="1"/>
          <p:nvPr/>
        </p:nvSpPr>
        <p:spPr>
          <a:xfrm>
            <a:off x="11322" y="1484785"/>
            <a:ext cx="12349373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-training-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de_modules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ckage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sconfig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html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in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vicon.ico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DE" dirty="0">
                <a:solidFill>
                  <a:schemeClr val="bg1"/>
                </a:solidFill>
                <a:latin typeface="Menlo" panose="020B0609030804020204" pitchFamily="49" charset="0"/>
                <a:cs typeface="Times New Roman" panose="02020603050405020304" pitchFamily="18" charset="0"/>
              </a:rPr>
              <a:t>    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sx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ssets/</a:t>
            </a: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environments/</a:t>
            </a: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x.json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ject.json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bpack.config.js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219C814-C72C-834A-8562-0509FE21A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628573"/>
              </p:ext>
            </p:extLst>
          </p:nvPr>
        </p:nvGraphicFramePr>
        <p:xfrm>
          <a:off x="3725260" y="2348630"/>
          <a:ext cx="81280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708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6160911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node_modules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All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ackage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Project information and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tsconfig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>
                          <a:solidFill>
                            <a:schemeClr val="bg1"/>
                          </a:solidFill>
                        </a:rPr>
                        <a:t>Typescript compiler configuration</a:t>
                      </a:r>
                      <a:endParaRPr lang="en-US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html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ntry point for the brows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app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oot Compon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096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tyles.cs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lobal sty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1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main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Bootstraps the application (render root component)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4271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nx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Workspace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314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roject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roject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05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webpack.config.j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Webpack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3069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0454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crip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26FC83-349D-5F42-A23C-5CAA38BB30A7}"/>
              </a:ext>
            </a:extLst>
          </p:cNvPr>
          <p:cNvSpPr txBox="1"/>
          <p:nvPr/>
        </p:nvSpPr>
        <p:spPr>
          <a:xfrm>
            <a:off x="3060018" y="2651057"/>
            <a:ext cx="6071964" cy="196476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scripts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star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serve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build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build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tes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,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6804D0-3D7E-0236-646E-3FE0248EA403}"/>
              </a:ext>
            </a:extLst>
          </p:cNvPr>
          <p:cNvSpPr txBox="1"/>
          <p:nvPr/>
        </p:nvSpPr>
        <p:spPr>
          <a:xfrm>
            <a:off x="692508" y="5085184"/>
            <a:ext cx="10806983" cy="14401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p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generate @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/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react: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--name=an-example --directory=app/components --export=false</a:t>
            </a: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In VS Code</a:t>
            </a:r>
          </a:p>
          <a:p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Cmd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/Ctrl + Shift + P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NX: generate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component</a:t>
            </a: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0171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de-DE" dirty="0"/>
              <a:t>First </a:t>
            </a:r>
            <a:r>
              <a:rPr lang="en-US" dirty="0"/>
              <a:t>look</a:t>
            </a:r>
            <a:r>
              <a:rPr lang="de-DE" dirty="0"/>
              <a:t> at JSX (</a:t>
            </a:r>
            <a:r>
              <a:rPr lang="de-DE" b="1" dirty="0"/>
              <a:t>J</a:t>
            </a:r>
            <a:r>
              <a:rPr lang="de-DE" dirty="0"/>
              <a:t>ava</a:t>
            </a:r>
            <a:r>
              <a:rPr lang="de-DE" b="1" dirty="0"/>
              <a:t>S</a:t>
            </a:r>
            <a:r>
              <a:rPr lang="de-DE" dirty="0"/>
              <a:t>cript </a:t>
            </a:r>
            <a:r>
              <a:rPr lang="de-DE" dirty="0" err="1"/>
              <a:t>e</a:t>
            </a:r>
            <a:r>
              <a:rPr lang="de-DE" b="1" dirty="0" err="1"/>
              <a:t>X</a:t>
            </a:r>
            <a:r>
              <a:rPr lang="de-DE" dirty="0" err="1"/>
              <a:t>tension</a:t>
            </a:r>
            <a:r>
              <a:rPr lang="de-DE" dirty="0"/>
              <a:t>)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CD6B4-9DBC-3245-B8D7-E446760D18E7}"/>
              </a:ext>
            </a:extLst>
          </p:cNvPr>
          <p:cNvSpPr txBox="1"/>
          <p:nvPr/>
        </p:nvSpPr>
        <p:spPr>
          <a:xfrm>
            <a:off x="2877795" y="2636912"/>
            <a:ext cx="6436409" cy="26642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2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31D827-2F5B-184E-82E9-BC7B1FF68988}"/>
              </a:ext>
            </a:extLst>
          </p:cNvPr>
          <p:cNvSpPr txBox="1"/>
          <p:nvPr/>
        </p:nvSpPr>
        <p:spPr>
          <a:xfrm>
            <a:off x="3480047" y="5733256"/>
            <a:ext cx="5231904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dirty="0"/>
              <a:t>JavaScript </a:t>
            </a:r>
            <a:r>
              <a:rPr lang="en-US" sz="1600" i="1" dirty="0"/>
              <a:t>inside</a:t>
            </a:r>
            <a:r>
              <a:rPr lang="en-US" sz="1600" b="1" dirty="0"/>
              <a:t> HTML </a:t>
            </a:r>
            <a:r>
              <a:rPr lang="en-US" sz="1600" i="1" dirty="0"/>
              <a:t>inside</a:t>
            </a:r>
            <a:r>
              <a:rPr lang="en-US" sz="1600" b="1" dirty="0"/>
              <a:t> JavaScript </a:t>
            </a:r>
            <a:r>
              <a:rPr lang="en-US" sz="1600" i="1" dirty="0"/>
              <a:t>inside </a:t>
            </a:r>
            <a:r>
              <a:rPr lang="en-US" sz="1600" b="1" dirty="0"/>
              <a:t>HTML </a:t>
            </a:r>
            <a:r>
              <a:rPr lang="en-US" sz="1600" i="1" dirty="0"/>
              <a:t>inside </a:t>
            </a:r>
            <a:r>
              <a:rPr lang="en-US" sz="1600" b="1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80103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de-DE" dirty="0"/>
              <a:t>JSX &amp; JS </a:t>
            </a:r>
            <a:r>
              <a:rPr lang="de-DE" dirty="0" err="1"/>
              <a:t>Component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-34280" y="2760377"/>
            <a:ext cx="6071964" cy="333291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000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000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.name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2000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6146676" y="2760377"/>
            <a:ext cx="6071964" cy="333291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Element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iv"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Hello "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.name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2000" spc="-150" dirty="0">
              <a:solidFill>
                <a:srgbClr val="FFFFFF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DE" sz="2000" spc="-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!"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88FC33-374B-6349-A5CD-8EACDA1C3D54}"/>
              </a:ext>
            </a:extLst>
          </p:cNvPr>
          <p:cNvSpPr txBox="1"/>
          <p:nvPr/>
        </p:nvSpPr>
        <p:spPr>
          <a:xfrm>
            <a:off x="5368043" y="563506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EBC68E-37FE-4046-AD43-095475EE96B9}"/>
              </a:ext>
            </a:extLst>
          </p:cNvPr>
          <p:cNvSpPr txBox="1"/>
          <p:nvPr/>
        </p:nvSpPr>
        <p:spPr>
          <a:xfrm>
            <a:off x="11532605" y="563506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</a:t>
            </a:r>
          </a:p>
        </p:txBody>
      </p:sp>
    </p:spTree>
    <p:extLst>
      <p:ext uri="{BB962C8B-B14F-4D97-AF65-F5344CB8AC3E}">
        <p14:creationId xmlns:p14="http://schemas.microsoft.com/office/powerpoint/2010/main" val="19486550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US" dirty="0"/>
              <a:t>Render a Component (</a:t>
            </a:r>
            <a:r>
              <a:rPr lang="de-DE" dirty="0" err="1"/>
              <a:t>ReactDOM</a:t>
            </a:r>
            <a:r>
              <a:rPr lang="en-US" dirty="0"/>
              <a:t>)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-34280" y="4272545"/>
            <a:ext cx="6071964" cy="2180791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0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20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de-DE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de-DE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6146676" y="4272545"/>
            <a:ext cx="6071964" cy="2180791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Element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m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Taylor"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),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7386F5-3634-A44D-8B19-A5EB7AC43119}"/>
              </a:ext>
            </a:extLst>
          </p:cNvPr>
          <p:cNvSpPr txBox="1"/>
          <p:nvPr/>
        </p:nvSpPr>
        <p:spPr>
          <a:xfrm>
            <a:off x="5368043" y="599510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3AD2D5-6BE1-4440-BDD9-6D9345C11758}"/>
              </a:ext>
            </a:extLst>
          </p:cNvPr>
          <p:cNvSpPr txBox="1"/>
          <p:nvPr/>
        </p:nvSpPr>
        <p:spPr>
          <a:xfrm>
            <a:off x="11532605" y="599510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839BEB-6C45-1443-9BBA-3CA3EAD48131}"/>
              </a:ext>
            </a:extLst>
          </p:cNvPr>
          <p:cNvSpPr txBox="1"/>
          <p:nvPr/>
        </p:nvSpPr>
        <p:spPr>
          <a:xfrm>
            <a:off x="3445395" y="1593057"/>
            <a:ext cx="5402561" cy="242749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!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OCTYP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lang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</a:t>
            </a:r>
            <a:r>
              <a:rPr lang="en-GB" sz="2000" dirty="0" err="1">
                <a:solidFill>
                  <a:srgbClr val="98C379"/>
                </a:solidFill>
                <a:latin typeface="Fira Code" panose="020B0809050000020004" pitchFamily="49" charset="0"/>
              </a:rPr>
              <a:t>en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ea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meta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charset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utf-8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/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titl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React App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titl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ea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body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i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root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body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75B9EA-BD46-FB4C-8964-8F3A782E99BB}"/>
              </a:ext>
            </a:extLst>
          </p:cNvPr>
          <p:cNvSpPr txBox="1"/>
          <p:nvPr/>
        </p:nvSpPr>
        <p:spPr>
          <a:xfrm>
            <a:off x="6888088" y="1602490"/>
            <a:ext cx="1872208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3200" b="1" dirty="0" err="1">
                <a:solidFill>
                  <a:schemeClr val="bg1"/>
                </a:solidFill>
              </a:rPr>
              <a:t>i</a:t>
            </a:r>
            <a:r>
              <a:rPr lang="en-DE" sz="3200" b="1" dirty="0">
                <a:solidFill>
                  <a:schemeClr val="bg1"/>
                </a:solidFill>
              </a:rPr>
              <a:t>ndex.html</a:t>
            </a:r>
          </a:p>
        </p:txBody>
      </p:sp>
    </p:spTree>
    <p:extLst>
      <p:ext uri="{BB962C8B-B14F-4D97-AF65-F5344CB8AC3E}">
        <p14:creationId xmlns:p14="http://schemas.microsoft.com/office/powerpoint/2010/main" val="645634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Timetable</a:t>
            </a:r>
            <a:endParaRPr lang="de-DE" dirty="0"/>
          </a:p>
        </p:txBody>
      </p:sp>
      <p:sp>
        <p:nvSpPr>
          <p:cNvPr id="8" name="Textfeld 3">
            <a:extLst>
              <a:ext uri="{FF2B5EF4-FFF2-40B4-BE49-F238E27FC236}">
                <a16:creationId xmlns:a16="http://schemas.microsoft.com/office/drawing/2014/main" id="{9429A0EC-2DB6-C645-8C40-9F7DF1378DD4}"/>
              </a:ext>
            </a:extLst>
          </p:cNvPr>
          <p:cNvSpPr txBox="1"/>
          <p:nvPr/>
        </p:nvSpPr>
        <p:spPr>
          <a:xfrm>
            <a:off x="1703512" y="3104280"/>
            <a:ext cx="4392488" cy="2161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b="1" dirty="0"/>
              <a:t>Start: 09:0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15 min </a:t>
            </a:r>
            <a:r>
              <a:rPr lang="de-DE" sz="2400" i="1" dirty="0" err="1"/>
              <a:t>coffee</a:t>
            </a:r>
            <a:r>
              <a:rPr lang="de-DE" sz="2400" i="1" dirty="0"/>
              <a:t> break @ ~11:0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Lunch: 12:15-13:15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15 min </a:t>
            </a:r>
            <a:r>
              <a:rPr lang="de-DE" sz="2400" i="1" dirty="0" err="1"/>
              <a:t>coffee</a:t>
            </a:r>
            <a:r>
              <a:rPr lang="de-DE" sz="2400" i="1" dirty="0"/>
              <a:t> break @ ~15:3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b="1" dirty="0"/>
              <a:t>End: 17: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41C7E1-B6C4-4B49-A6E7-55AB8AC5F3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59" t="38450" r="18341" b="9233"/>
          <a:stretch/>
        </p:blipFill>
        <p:spPr>
          <a:xfrm>
            <a:off x="6579701" y="1484785"/>
            <a:ext cx="5636979" cy="54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5010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US" dirty="0"/>
              <a:t>JSX &amp; TSX Components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11323" y="1484785"/>
            <a:ext cx="6071964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pc="-15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Type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Type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ng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isRequired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pc="-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5951984" y="1484785"/>
            <a:ext cx="6264696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fac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tring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Hello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de-DE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pc="-15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de-DE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7386F5-3634-A44D-8B19-A5EB7AC43119}"/>
              </a:ext>
            </a:extLst>
          </p:cNvPr>
          <p:cNvSpPr txBox="1"/>
          <p:nvPr/>
        </p:nvSpPr>
        <p:spPr>
          <a:xfrm>
            <a:off x="4583832" y="6309320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3AD2D5-6BE1-4440-BDD9-6D9345C11758}"/>
              </a:ext>
            </a:extLst>
          </p:cNvPr>
          <p:cNvSpPr txBox="1"/>
          <p:nvPr/>
        </p:nvSpPr>
        <p:spPr>
          <a:xfrm>
            <a:off x="11532605" y="6309320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TSX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02895A-41A1-044C-A128-A4B0913C60D5}"/>
              </a:ext>
            </a:extLst>
          </p:cNvPr>
          <p:cNvSpPr txBox="1"/>
          <p:nvPr/>
        </p:nvSpPr>
        <p:spPr>
          <a:xfrm>
            <a:off x="8159551" y="976689"/>
            <a:ext cx="4032448" cy="4362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Component naming convention: Pascal case</a:t>
            </a:r>
          </a:p>
        </p:txBody>
      </p:sp>
    </p:spTree>
    <p:extLst>
      <p:ext uri="{BB962C8B-B14F-4D97-AF65-F5344CB8AC3E}">
        <p14:creationId xmlns:p14="http://schemas.microsoft.com/office/powerpoint/2010/main" val="16967664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tate Manag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0F9126-1E56-BE45-8018-226B9C0A7212}"/>
              </a:ext>
            </a:extLst>
          </p:cNvPr>
          <p:cNvSpPr txBox="1"/>
          <p:nvPr/>
        </p:nvSpPr>
        <p:spPr>
          <a:xfrm>
            <a:off x="11322" y="1484785"/>
            <a:ext cx="12180677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interfac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I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numb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I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constructo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sup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props);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};</a:t>
            </a:r>
          </a:p>
          <a:p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    // don't use </a:t>
            </a:r>
            <a:r>
              <a:rPr lang="en-GB" sz="1600" i="1" dirty="0" err="1">
                <a:solidFill>
                  <a:srgbClr val="5C6370"/>
                </a:solidFill>
                <a:latin typeface="Fira Code" panose="020B0809050000020004" pitchFamily="49" charset="0"/>
              </a:rPr>
              <a:t>this.setState</a:t>
            </a:r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(...) in the constructor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publi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rend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)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         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(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      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{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+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1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}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  }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gt; click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925321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 Class-</a:t>
            </a:r>
            <a:r>
              <a:rPr lang="de-DE" dirty="0" err="1"/>
              <a:t>Component</a:t>
            </a:r>
            <a:r>
              <a:rPr lang="de-DE" dirty="0"/>
              <a:t> Lifecycle-Metho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34EED7-BBAD-2A4B-9D22-C8942CCB6F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004" y="1502163"/>
            <a:ext cx="9569991" cy="53558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FDB527-844E-1E40-92D2-DB38FC94636D}"/>
              </a:ext>
            </a:extLst>
          </p:cNvPr>
          <p:cNvSpPr txBox="1"/>
          <p:nvPr/>
        </p:nvSpPr>
        <p:spPr>
          <a:xfrm>
            <a:off x="47328" y="6597352"/>
            <a:ext cx="5544616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chemeClr val="bg1"/>
                </a:solidFill>
                <a:highlight>
                  <a:srgbClr val="282C32"/>
                </a:highlight>
              </a:rPr>
              <a:t>https://</a:t>
            </a:r>
            <a:r>
              <a:rPr lang="en-GB" sz="1600" dirty="0" err="1">
                <a:solidFill>
                  <a:schemeClr val="bg1"/>
                </a:solidFill>
                <a:highlight>
                  <a:srgbClr val="282C32"/>
                </a:highlight>
              </a:rPr>
              <a:t>projects.wojtekmaj.pl</a:t>
            </a:r>
            <a:r>
              <a:rPr lang="en-GB" sz="1600" dirty="0">
                <a:solidFill>
                  <a:schemeClr val="bg1"/>
                </a:solidFill>
                <a:highlight>
                  <a:srgbClr val="282C32"/>
                </a:highlight>
              </a:rPr>
              <a:t>/react-lifecycle-methods-diagram/</a:t>
            </a:r>
          </a:p>
        </p:txBody>
      </p:sp>
    </p:spTree>
    <p:extLst>
      <p:ext uri="{BB962C8B-B14F-4D97-AF65-F5344CB8AC3E}">
        <p14:creationId xmlns:p14="http://schemas.microsoft.com/office/powerpoint/2010/main" val="411742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Subscrib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v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DF0DF4-F458-9A4D-B44D-6675797BE0F6}"/>
              </a:ext>
            </a:extLst>
          </p:cNvPr>
          <p:cNvSpPr txBox="1"/>
          <p:nvPr/>
        </p:nvSpPr>
        <p:spPr>
          <a:xfrm>
            <a:off x="1361473" y="1556792"/>
            <a:ext cx="9469053" cy="53000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US" sz="1600" dirty="0">
              <a:solidFill>
                <a:srgbClr val="C5A5C5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tate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vat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Objec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TMLDivElem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DidMou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.addEventListen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 err="1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agenter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.onDragEnt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WillUnmount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.removeEventListen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 err="1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agenter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.onDragEnt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DragEnter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...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...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7265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556ADD-88D4-CA4D-B8D3-5E9078C24EDE}"/>
              </a:ext>
            </a:extLst>
          </p:cNvPr>
          <p:cNvSpPr txBox="1"/>
          <p:nvPr/>
        </p:nvSpPr>
        <p:spPr>
          <a:xfrm>
            <a:off x="2261573" y="2357849"/>
            <a:ext cx="7668854" cy="315938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fac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name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tring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.FC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=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props: 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=&gt;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Hello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6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faultProps</a:t>
            </a:r>
            <a:r>
              <a:rPr lang="en-US" sz="160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: </a:t>
            </a:r>
            <a:r>
              <a:rPr lang="en-GB" sz="1600" dirty="0">
                <a:solidFill>
                  <a:srgbClr val="98C379"/>
                </a:solidFill>
                <a:latin typeface="Fira Code" panose="020B0809050000020004" pitchFamily="49" charset="0"/>
              </a:rPr>
              <a:t>'Guest user'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8478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State (</a:t>
            </a:r>
            <a:r>
              <a:rPr lang="de-DE" dirty="0" err="1"/>
              <a:t>useState</a:t>
            </a:r>
            <a:r>
              <a:rPr lang="de-DE" dirty="0"/>
              <a:t> hook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8C48E6-73FF-E24A-AADB-FF138500E9D8}"/>
              </a:ext>
            </a:extLst>
          </p:cNvPr>
          <p:cNvSpPr txBox="1"/>
          <p:nvPr/>
        </p:nvSpPr>
        <p:spPr>
          <a:xfrm>
            <a:off x="2261573" y="2357849"/>
            <a:ext cx="7668854" cy="295232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[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set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]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Counter: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!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()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       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counter +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1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}}&gt;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increaas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9828547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Lifecycle (</a:t>
            </a:r>
            <a:r>
              <a:rPr lang="de-DE" dirty="0" err="1"/>
              <a:t>useEffect</a:t>
            </a:r>
            <a:r>
              <a:rPr lang="de-DE" dirty="0"/>
              <a:t> hook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EC2C47-E700-B348-B3FB-CE35C8AC37B8}"/>
              </a:ext>
            </a:extLst>
          </p:cNvPr>
          <p:cNvSpPr txBox="1"/>
          <p:nvPr/>
        </p:nvSpPr>
        <p:spPr>
          <a:xfrm>
            <a:off x="1577498" y="1844824"/>
            <a:ext cx="9037004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spc="-15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>
                <a:solidFill>
                  <a:srgbClr val="61AFEF"/>
                </a:solidFill>
                <a:latin typeface="Fira Code" panose="020B0809050000020004" pitchFamily="49" charset="0"/>
              </a:rPr>
              <a:t>Subscription</a:t>
            </a:r>
            <a:r>
              <a:rPr lang="en-GB" sz="1600" spc="-15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spc="-15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spc="-15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(props) </a:t>
            </a:r>
            <a:r>
              <a:rPr lang="en-GB" sz="1600" spc="-15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endParaRPr lang="en-GB" sz="1600" spc="-150" dirty="0">
              <a:solidFill>
                <a:srgbClr val="C678DD"/>
              </a:solidFill>
              <a:latin typeface="Fira Code" panose="020B0809050000020004" pitchFamily="49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en-GB" sz="1600" spc="-150" dirty="0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seEffect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st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ption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ps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ource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be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ption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nsubscribe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r>
              <a:rPr lang="en-DE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DE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[] </a:t>
            </a:r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// list of dependencies 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not present - runs at every render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present but empty - run only once at the first render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present and dependencies listed - executes when any dependency changes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600" spc="-1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GB" sz="1600" spc="-15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(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spc="-15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  Hi!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spc="-15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2271980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Hooks</a:t>
            </a: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CD125A24-DD7E-984C-A23C-EDE1D2D754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983911"/>
              </p:ext>
            </p:extLst>
          </p:nvPr>
        </p:nvGraphicFramePr>
        <p:xfrm>
          <a:off x="839416" y="2708920"/>
          <a:ext cx="10801200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2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9258171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State</a:t>
                      </a:r>
                      <a:endParaRPr lang="en-GB" sz="1800" b="1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llows you to store state in function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4384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Effect</a:t>
                      </a:r>
                      <a:endParaRPr lang="en-GB" sz="1800" b="1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llows you to perform side effects in function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Memo</a:t>
                      </a:r>
                      <a:endParaRPr lang="en-GB" sz="1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Memorizes some expensive to recompute values and recomputes when any dependency chang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useRef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eturns a mutable ref object to access the DO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useContext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the current context value for that contex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31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…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nd mo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418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ustom hoo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Write your own hoo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4611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45856DC-5D57-8744-9DB9-3E91405E6E44}"/>
              </a:ext>
            </a:extLst>
          </p:cNvPr>
          <p:cNvSpPr txBox="1"/>
          <p:nvPr/>
        </p:nvSpPr>
        <p:spPr>
          <a:xfrm>
            <a:off x="863576" y="6390000"/>
            <a:ext cx="4104456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react.dev</a:t>
            </a:r>
            <a:r>
              <a:rPr lang="en-US" sz="1600" dirty="0"/>
              <a:t>/reference/react</a:t>
            </a:r>
          </a:p>
        </p:txBody>
      </p:sp>
    </p:spTree>
    <p:extLst>
      <p:ext uri="{BB962C8B-B14F-4D97-AF65-F5344CB8AC3E}">
        <p14:creationId xmlns:p14="http://schemas.microsoft.com/office/powerpoint/2010/main" val="338531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fs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62361-48B7-C648-B487-1C2C7A1ECE93}"/>
              </a:ext>
            </a:extLst>
          </p:cNvPr>
          <p:cNvSpPr txBox="1"/>
          <p:nvPr/>
        </p:nvSpPr>
        <p:spPr>
          <a:xfrm>
            <a:off x="0" y="1484784"/>
            <a:ext cx="6120680" cy="53732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vat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Objec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TMLDivElem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DidMou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00B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Do something with the native node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6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!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27A989-56BF-F242-B89D-D3E9B371A6A0}"/>
              </a:ext>
            </a:extLst>
          </p:cNvPr>
          <p:cNvSpPr txBox="1"/>
          <p:nvPr/>
        </p:nvSpPr>
        <p:spPr>
          <a:xfrm>
            <a:off x="6128692" y="1484784"/>
            <a:ext cx="6120680" cy="53732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HTMLDivElem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(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null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Effec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(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  i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urr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      </a:t>
            </a:r>
            <a:r>
              <a:rPr lang="en-US" sz="1600" dirty="0">
                <a:solidFill>
                  <a:srgbClr val="00B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Do something with the native node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);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ref}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Hello 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!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6947364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.Fragment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DCEF86-B094-014C-B20E-3AD730650C10}"/>
              </a:ext>
            </a:extLst>
          </p:cNvPr>
          <p:cNvSpPr txBox="1"/>
          <p:nvPr/>
        </p:nvSpPr>
        <p:spPr>
          <a:xfrm>
            <a:off x="2708343" y="1556792"/>
            <a:ext cx="6775313" cy="511256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61AFEF"/>
                </a:solidFill>
                <a:latin typeface="Fira Code" panose="020B0809050000020004" pitchFamily="49" charset="0"/>
              </a:rPr>
              <a:t>List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React.Fragmen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one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two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React.Fragmen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  <a:p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61AFEF"/>
                </a:solidFill>
                <a:latin typeface="Fira Code" panose="020B0809050000020004" pitchFamily="49" charset="0"/>
              </a:rPr>
              <a:t>List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one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two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/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  <a:p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7E974-719F-F944-A2EA-31B7337BC956}"/>
              </a:ext>
            </a:extLst>
          </p:cNvPr>
          <p:cNvSpPr txBox="1"/>
          <p:nvPr/>
        </p:nvSpPr>
        <p:spPr>
          <a:xfrm>
            <a:off x="8711299" y="1197048"/>
            <a:ext cx="3481064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Component must return a single element</a:t>
            </a:r>
          </a:p>
        </p:txBody>
      </p:sp>
    </p:spTree>
    <p:extLst>
      <p:ext uri="{BB962C8B-B14F-4D97-AF65-F5344CB8AC3E}">
        <p14:creationId xmlns:p14="http://schemas.microsoft.com/office/powerpoint/2010/main" val="4198209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React Bootcamp Overview</a:t>
            </a:r>
          </a:p>
          <a:p>
            <a:pPr lvl="1"/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88995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1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roduction</a:t>
            </a:r>
            <a:r>
              <a:rPr lang="de-DE" dirty="0"/>
              <a:t> Round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etup Environment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ypescript</a:t>
            </a:r>
            <a:r>
              <a:rPr lang="de-DE" dirty="0"/>
              <a:t> Refresher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Ecosystem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ct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First </a:t>
            </a:r>
            <a:r>
              <a:rPr lang="de-DE" dirty="0" err="1"/>
              <a:t>look</a:t>
            </a:r>
            <a:r>
              <a:rPr lang="de-DE" dirty="0"/>
              <a:t> at *.</a:t>
            </a:r>
            <a:r>
              <a:rPr lang="de-DE" dirty="0" err="1"/>
              <a:t>jsx</a:t>
            </a:r>
            <a:r>
              <a:rPr lang="de-DE" dirty="0"/>
              <a:t> &amp; *.</a:t>
            </a:r>
            <a:r>
              <a:rPr lang="de-DE" dirty="0" err="1"/>
              <a:t>tsx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et </a:t>
            </a:r>
            <a:r>
              <a:rPr lang="de-DE" dirty="0" err="1"/>
              <a:t>up</a:t>
            </a:r>
            <a:r>
              <a:rPr lang="de-DE" dirty="0"/>
              <a:t> a </a:t>
            </a:r>
            <a:r>
              <a:rPr lang="de-DE" dirty="0" err="1"/>
              <a:t>Typescript</a:t>
            </a:r>
            <a:r>
              <a:rPr lang="de-DE" dirty="0"/>
              <a:t> </a:t>
            </a:r>
            <a:r>
              <a:rPr lang="de-DE" dirty="0" err="1"/>
              <a:t>React</a:t>
            </a:r>
            <a:r>
              <a:rPr lang="de-DE" dirty="0"/>
              <a:t> App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act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Types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tate-Driven UI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Lyfecycle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heme</a:t>
            </a:r>
            <a:r>
              <a:rPr lang="de-DE" dirty="0"/>
              <a:t> &amp; Sty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Material-UI</a:t>
            </a:r>
          </a:p>
        </p:txBody>
      </p:sp>
      <p:sp>
        <p:nvSpPr>
          <p:cNvPr id="2" name="Textfeld 3">
            <a:extLst>
              <a:ext uri="{FF2B5EF4-FFF2-40B4-BE49-F238E27FC236}">
                <a16:creationId xmlns:a16="http://schemas.microsoft.com/office/drawing/2014/main" id="{DA1B2E41-A473-23DB-34C1-5C8E68D43C15}"/>
              </a:ext>
            </a:extLst>
          </p:cNvPr>
          <p:cNvSpPr txBox="1"/>
          <p:nvPr/>
        </p:nvSpPr>
        <p:spPr>
          <a:xfrm>
            <a:off x="4421814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2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Data-Mode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List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Hook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fs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Subscrib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vent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ntext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Rout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esting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dux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MUI </a:t>
            </a:r>
            <a:r>
              <a:rPr lang="de-DE" dirty="0" err="1"/>
              <a:t>DataGrid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ssueTracker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Textfeld 3">
            <a:extLst>
              <a:ext uri="{FF2B5EF4-FFF2-40B4-BE49-F238E27FC236}">
                <a16:creationId xmlns:a16="http://schemas.microsoft.com/office/drawing/2014/main" id="{50DE794B-AA7B-14C9-7E50-6619F485C807}"/>
              </a:ext>
            </a:extLst>
          </p:cNvPr>
          <p:cNvSpPr txBox="1"/>
          <p:nvPr/>
        </p:nvSpPr>
        <p:spPr>
          <a:xfrm>
            <a:off x="8354633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3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ernationalization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Notes App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act</a:t>
            </a:r>
            <a:r>
              <a:rPr lang="de-DE" dirty="0"/>
              <a:t>-Query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SzPct val="100000"/>
            </a:pPr>
            <a:endParaRPr lang="de-DE" dirty="0"/>
          </a:p>
          <a:p>
            <a:pPr>
              <a:buSzPct val="100000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25545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props.children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DCEF86-B094-014C-B20E-3AD730650C10}"/>
              </a:ext>
            </a:extLst>
          </p:cNvPr>
          <p:cNvSpPr txBox="1"/>
          <p:nvPr/>
        </p:nvSpPr>
        <p:spPr>
          <a:xfrm>
            <a:off x="2708343" y="1556792"/>
            <a:ext cx="6775313" cy="511256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g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BE504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ren</a:t>
            </a:r>
            <a:r>
              <a:rPr lang="de-DE" dirty="0">
                <a:solidFill>
                  <a:srgbClr val="BE504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de-DE" sz="2400" dirty="0">
              <a:solidFill>
                <a:srgbClr val="BBBBBB"/>
              </a:solidFill>
              <a:latin typeface="Menlo" panose="020B060903080402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solidFill>
                  <a:srgbClr val="BBBBBB"/>
                </a:solidFill>
                <a:latin typeface="Menlo" panose="020B060903080402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 </a:t>
            </a:r>
            <a:r>
              <a:rPr lang="de-DE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...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m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ex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/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2808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ditional</a:t>
            </a:r>
            <a:r>
              <a:rPr lang="de-DE" dirty="0"/>
              <a:t> </a:t>
            </a:r>
            <a:r>
              <a:rPr lang="de-DE" dirty="0" err="1"/>
              <a:t>Rendenring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7C0EF9-0A81-5C4D-998F-CA94286D82BA}"/>
              </a:ext>
            </a:extLst>
          </p:cNvPr>
          <p:cNvSpPr txBox="1"/>
          <p:nvPr/>
        </p:nvSpPr>
        <p:spPr>
          <a:xfrm>
            <a:off x="3035660" y="2780928"/>
            <a:ext cx="6120680" cy="23672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&gt;</a:t>
            </a:r>
          </a:p>
          <a:p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      {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!!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&amp;&amp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Hello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!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      }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5233511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how a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 (Loops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tsx</a:t>
            </a:r>
            <a:r>
              <a:rPr lang="de-DE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E2A1CB-4BE6-E846-BE83-15D5B73B54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2132856"/>
            <a:ext cx="3086968" cy="17399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8ED0644-8AAF-A842-8805-25E3122068C0}"/>
              </a:ext>
            </a:extLst>
          </p:cNvPr>
          <p:cNvSpPr txBox="1"/>
          <p:nvPr/>
        </p:nvSpPr>
        <p:spPr>
          <a:xfrm>
            <a:off x="312789" y="1916832"/>
            <a:ext cx="5783211" cy="432048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350"/>
              </a:lnSpc>
            </a:pPr>
            <a:endParaRPr lang="en-US" dirty="0">
              <a:solidFill>
                <a:srgbClr val="C678DD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s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Coffee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Tea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ilk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]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de-DE" dirty="0">
              <a:solidFill>
                <a:srgbClr val="88C6BE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p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(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1213FE-1F2A-DB4B-A897-0AB487246FA1}"/>
              </a:ext>
            </a:extLst>
          </p:cNvPr>
          <p:cNvSpPr txBox="1"/>
          <p:nvPr/>
        </p:nvSpPr>
        <p:spPr>
          <a:xfrm>
            <a:off x="6312024" y="4142490"/>
            <a:ext cx="5879976" cy="10441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ey prop – needed for reconciliation (</a:t>
            </a:r>
            <a:r>
              <a:rPr lang="en-US" sz="1600" dirty="0" err="1"/>
              <a:t>VirtualDOM</a:t>
            </a:r>
            <a:r>
              <a:rPr lang="en-US" sz="1600" dirty="0"/>
              <a:t> - DO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eware using </a:t>
            </a:r>
            <a:r>
              <a:rPr lang="en-US" sz="1600" dirty="0" err="1"/>
              <a:t>idx</a:t>
            </a:r>
            <a:r>
              <a:rPr lang="en-US" sz="1600" dirty="0"/>
              <a:t> as a key – might lead to problems if order changes</a:t>
            </a:r>
          </a:p>
        </p:txBody>
      </p:sp>
    </p:spTree>
    <p:extLst>
      <p:ext uri="{BB962C8B-B14F-4D97-AF65-F5344CB8AC3E}">
        <p14:creationId xmlns:p14="http://schemas.microsoft.com/office/powerpoint/2010/main" val="27009772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mposition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Inheritance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231440-6F90-244D-AAFC-9D9986F21771}"/>
              </a:ext>
            </a:extLst>
          </p:cNvPr>
          <p:cNvSpPr txBox="1"/>
          <p:nvPr/>
        </p:nvSpPr>
        <p:spPr>
          <a:xfrm>
            <a:off x="7896200" y="3645024"/>
            <a:ext cx="3108300" cy="1143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mpler to argue abou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are only about props and st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tate driv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E0784-4B3C-9A4B-8020-92C76860C417}"/>
              </a:ext>
            </a:extLst>
          </p:cNvPr>
          <p:cNvSpPr txBox="1"/>
          <p:nvPr/>
        </p:nvSpPr>
        <p:spPr>
          <a:xfrm>
            <a:off x="1041252" y="1556792"/>
            <a:ext cx="5907937" cy="518457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ncyBorder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or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lu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1 </a:t>
            </a: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”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-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1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“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-messag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ssag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ncyBorder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comeDialog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com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ssag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ank you for visiting!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2385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act Dev Tool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71421A-BA55-0345-9D7B-3C8CC1A86BB6}"/>
              </a:ext>
            </a:extLst>
          </p:cNvPr>
          <p:cNvSpPr txBox="1"/>
          <p:nvPr/>
        </p:nvSpPr>
        <p:spPr>
          <a:xfrm>
            <a:off x="767408" y="6165304"/>
            <a:ext cx="5544616" cy="2246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err="1">
                <a:hlinkClick r:id="rId2"/>
              </a:rPr>
              <a:t>chrome.google.com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webstore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detail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react</a:t>
            </a:r>
            <a:r>
              <a:rPr lang="de-DE" dirty="0">
                <a:hlinkClick r:id="rId2"/>
              </a:rPr>
              <a:t>-</a:t>
            </a:r>
            <a:r>
              <a:rPr lang="de-DE" dirty="0" err="1">
                <a:hlinkClick r:id="rId2"/>
              </a:rPr>
              <a:t>developer</a:t>
            </a:r>
            <a:r>
              <a:rPr lang="de-DE" dirty="0">
                <a:hlinkClick r:id="rId2"/>
              </a:rPr>
              <a:t>-tools/</a:t>
            </a:r>
            <a:r>
              <a:rPr lang="de-DE" dirty="0" err="1">
                <a:hlinkClick r:id="rId2"/>
              </a:rPr>
              <a:t>fmkadmapgofadopljbjfkapdkoienihi?hl</a:t>
            </a:r>
            <a:r>
              <a:rPr lang="de-DE" dirty="0">
                <a:hlinkClick r:id="rId2"/>
              </a:rPr>
              <a:t>=en</a:t>
            </a:r>
            <a:endParaRPr lang="en-GB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D11BA2-B4BB-524C-9B8F-22C0540C1F54}"/>
              </a:ext>
            </a:extLst>
          </p:cNvPr>
          <p:cNvSpPr txBox="1"/>
          <p:nvPr/>
        </p:nvSpPr>
        <p:spPr>
          <a:xfrm>
            <a:off x="11704320" y="43891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3"/>
              </a:buBlip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1548D8-0DB3-158D-F1BD-093D28F47F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8" y="2231453"/>
            <a:ext cx="5401960" cy="3537156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03C528DE-BBA2-8583-6D51-349079F5B8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164" y="2216089"/>
            <a:ext cx="5401960" cy="355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8408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Virtual D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F41EC0-4DE5-AB42-AC97-7BA062AE25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31601" r="56451" b="21088"/>
          <a:stretch/>
        </p:blipFill>
        <p:spPr>
          <a:xfrm>
            <a:off x="3863751" y="3429000"/>
            <a:ext cx="1440161" cy="12961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321225-3A3C-6C4E-8ABE-6CC1DED610D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0" t="28119" r="50322" b="19011"/>
          <a:stretch/>
        </p:blipFill>
        <p:spPr>
          <a:xfrm>
            <a:off x="1703512" y="3429000"/>
            <a:ext cx="1624498" cy="1299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462E8F2-FC83-9340-8891-B8DD0EED69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5735960" y="3429000"/>
            <a:ext cx="1512168" cy="12961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F88331-6CE1-AF49-BC05-9B8999AAF4AB}"/>
              </a:ext>
            </a:extLst>
          </p:cNvPr>
          <p:cNvSpPr txBox="1"/>
          <p:nvPr/>
        </p:nvSpPr>
        <p:spPr>
          <a:xfrm>
            <a:off x="4403810" y="3140968"/>
            <a:ext cx="360041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dir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7CC3BD-DA38-574D-AB12-649D4F468B95}"/>
              </a:ext>
            </a:extLst>
          </p:cNvPr>
          <p:cNvSpPr txBox="1"/>
          <p:nvPr/>
        </p:nvSpPr>
        <p:spPr>
          <a:xfrm>
            <a:off x="2287960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/>
              <a:t>setState</a:t>
            </a:r>
            <a:endParaRPr lang="en-GB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8140EE-599B-154C-BFAC-6106EEC6D15F}"/>
              </a:ext>
            </a:extLst>
          </p:cNvPr>
          <p:cNvSpPr txBox="1"/>
          <p:nvPr/>
        </p:nvSpPr>
        <p:spPr>
          <a:xfrm>
            <a:off x="6159620" y="3140968"/>
            <a:ext cx="1088507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re-rendered</a:t>
            </a:r>
          </a:p>
        </p:txBody>
      </p:sp>
      <p:sp>
        <p:nvSpPr>
          <p:cNvPr id="14" name="Textfeld 3">
            <a:extLst>
              <a:ext uri="{FF2B5EF4-FFF2-40B4-BE49-F238E27FC236}">
                <a16:creationId xmlns:a16="http://schemas.microsoft.com/office/drawing/2014/main" id="{A5D65DAD-E2F5-7842-9D6B-20B9FFCDF86E}"/>
              </a:ext>
            </a:extLst>
          </p:cNvPr>
          <p:cNvSpPr txBox="1"/>
          <p:nvPr/>
        </p:nvSpPr>
        <p:spPr>
          <a:xfrm>
            <a:off x="335361" y="1700808"/>
            <a:ext cx="4608511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/>
              <a:t>In-memory </a:t>
            </a:r>
            <a:r>
              <a:rPr lang="de-DE" dirty="0" err="1"/>
              <a:t>re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OM</a:t>
            </a:r>
          </a:p>
        </p:txBody>
      </p:sp>
    </p:spTree>
    <p:extLst>
      <p:ext uri="{BB962C8B-B14F-4D97-AF65-F5344CB8AC3E}">
        <p14:creationId xmlns:p14="http://schemas.microsoft.com/office/powerpoint/2010/main" val="36706132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Virtual DO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F9289A-1923-1243-83B2-4E9C7F95AE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8275471" y="3429000"/>
            <a:ext cx="1512168" cy="129614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B61C5C-D7BC-F641-8AA8-873E328700C7}"/>
              </a:ext>
            </a:extLst>
          </p:cNvPr>
          <p:cNvSpPr txBox="1"/>
          <p:nvPr/>
        </p:nvSpPr>
        <p:spPr>
          <a:xfrm>
            <a:off x="8671515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1600" dirty="0"/>
              <a:t>DOM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8FD812-A19F-9B4F-9F98-E9CFF1B72D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31601" r="56451" b="21088"/>
          <a:stretch/>
        </p:blipFill>
        <p:spPr>
          <a:xfrm>
            <a:off x="3863751" y="3429000"/>
            <a:ext cx="1440161" cy="129614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187A5AC-5A64-9D49-88A4-5543CB7DFAC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0" t="28119" r="50322" b="19011"/>
          <a:stretch/>
        </p:blipFill>
        <p:spPr>
          <a:xfrm>
            <a:off x="1703512" y="3429000"/>
            <a:ext cx="1620178" cy="129614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2CCAD6F-5313-2E4F-BBDB-E12915DA5D9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5735960" y="3429000"/>
            <a:ext cx="1512168" cy="1296144"/>
          </a:xfrm>
          <a:prstGeom prst="rect">
            <a:avLst/>
          </a:prstGeom>
        </p:spPr>
      </p:pic>
      <p:sp>
        <p:nvSpPr>
          <p:cNvPr id="12" name="Textfeld 3">
            <a:extLst>
              <a:ext uri="{FF2B5EF4-FFF2-40B4-BE49-F238E27FC236}">
                <a16:creationId xmlns:a16="http://schemas.microsoft.com/office/drawing/2014/main" id="{4DD78C4B-2503-0C44-BD08-17662285EF32}"/>
              </a:ext>
            </a:extLst>
          </p:cNvPr>
          <p:cNvSpPr txBox="1"/>
          <p:nvPr/>
        </p:nvSpPr>
        <p:spPr>
          <a:xfrm>
            <a:off x="7371974" y="4885680"/>
            <a:ext cx="1080120" cy="2549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 err="1"/>
              <a:t>reconcile</a:t>
            </a:r>
            <a:endParaRPr lang="de-DE" dirty="0"/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A56C7B51-F814-C94C-A9FA-4C8C863C20AF}"/>
              </a:ext>
            </a:extLst>
          </p:cNvPr>
          <p:cNvSpPr/>
          <p:nvPr/>
        </p:nvSpPr>
        <p:spPr>
          <a:xfrm>
            <a:off x="7548598" y="3897052"/>
            <a:ext cx="72687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65097-B6F5-0548-AEB8-A9429A067832}"/>
              </a:ext>
            </a:extLst>
          </p:cNvPr>
          <p:cNvSpPr txBox="1"/>
          <p:nvPr/>
        </p:nvSpPr>
        <p:spPr>
          <a:xfrm>
            <a:off x="4403810" y="3140968"/>
            <a:ext cx="360041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dir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3B6648-859E-8B4A-8D28-636DDB83BD78}"/>
              </a:ext>
            </a:extLst>
          </p:cNvPr>
          <p:cNvSpPr txBox="1"/>
          <p:nvPr/>
        </p:nvSpPr>
        <p:spPr>
          <a:xfrm>
            <a:off x="2287960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/>
              <a:t>setState</a:t>
            </a:r>
            <a:endParaRPr lang="en-GB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F0E152-2E56-6D47-ABA1-5E9AD76171FE}"/>
              </a:ext>
            </a:extLst>
          </p:cNvPr>
          <p:cNvSpPr txBox="1"/>
          <p:nvPr/>
        </p:nvSpPr>
        <p:spPr>
          <a:xfrm>
            <a:off x="6159620" y="3140968"/>
            <a:ext cx="1088507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re-rendered</a:t>
            </a:r>
          </a:p>
        </p:txBody>
      </p:sp>
    </p:spTree>
    <p:extLst>
      <p:ext uri="{BB962C8B-B14F-4D97-AF65-F5344CB8AC3E}">
        <p14:creationId xmlns:p14="http://schemas.microsoft.com/office/powerpoint/2010/main" val="29331367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4BD51D-AD95-364C-8CE2-664BF940BA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56" y="2060848"/>
            <a:ext cx="8000888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1655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sp>
        <p:nvSpPr>
          <p:cNvPr id="6" name="Textfeld 3">
            <a:extLst>
              <a:ext uri="{FF2B5EF4-FFF2-40B4-BE49-F238E27FC236}">
                <a16:creationId xmlns:a16="http://schemas.microsoft.com/office/drawing/2014/main" id="{BDCC4FC3-D47D-2A4A-85A1-97C68C733BE1}"/>
              </a:ext>
            </a:extLst>
          </p:cNvPr>
          <p:cNvSpPr txBox="1"/>
          <p:nvPr/>
        </p:nvSpPr>
        <p:spPr>
          <a:xfrm>
            <a:off x="3134327" y="1903014"/>
            <a:ext cx="4617857" cy="3869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 err="1"/>
              <a:t>Ow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130550" y="4005064"/>
            <a:ext cx="3685530" cy="3996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 err="1"/>
              <a:t>Ow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61E6AE-C3AD-EC47-A71C-223C83139502}"/>
              </a:ext>
            </a:extLst>
          </p:cNvPr>
          <p:cNvCxnSpPr/>
          <p:nvPr/>
        </p:nvCxnSpPr>
        <p:spPr>
          <a:xfrm>
            <a:off x="2351584" y="3573016"/>
            <a:ext cx="7560840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486DEF7-5355-E945-8691-DE77293F4A57}"/>
              </a:ext>
            </a:extLst>
          </p:cNvPr>
          <p:cNvSpPr txBox="1"/>
          <p:nvPr/>
        </p:nvSpPr>
        <p:spPr>
          <a:xfrm>
            <a:off x="2705062" y="2354385"/>
            <a:ext cx="6781873" cy="3869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9335F3-BAC1-9941-B7C1-1EDC60AE2107}"/>
              </a:ext>
            </a:extLst>
          </p:cNvPr>
          <p:cNvSpPr txBox="1"/>
          <p:nvPr/>
        </p:nvSpPr>
        <p:spPr>
          <a:xfrm>
            <a:off x="2705063" y="4453225"/>
            <a:ext cx="6781873" cy="223224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faultProp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John'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setState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 counter: 1 });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US" dirty="0">
              <a:solidFill>
                <a:srgbClr val="FFFFFF"/>
              </a:solidFill>
              <a:latin typeface="Menlo" panose="020B060903080402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[</a:t>
            </a:r>
            <a:r>
              <a:rPr lang="en-GB" dirty="0">
                <a:solidFill>
                  <a:srgbClr val="D19A66"/>
                </a:solidFill>
                <a:latin typeface="Fira Code" panose="020B0809050000020004" pitchFamily="49" charset="0"/>
              </a:rPr>
              <a:t>counter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dirty="0" err="1">
                <a:solidFill>
                  <a:srgbClr val="D19A66"/>
                </a:solidFill>
                <a:latin typeface="Fira Code" panose="020B0809050000020004" pitchFamily="49" charset="0"/>
              </a:rPr>
              <a:t>setCounter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]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61AFEF"/>
                </a:solidFill>
                <a:latin typeface="Fira Code" panose="020B0809050000020004" pitchFamily="49" charset="0"/>
              </a:rPr>
              <a:t>useState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7867154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461147" y="1794418"/>
            <a:ext cx="5269706" cy="554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/>
              <a:t>Stat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s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hild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rops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552899-67DA-E645-BD71-F7F3173C778A}"/>
              </a:ext>
            </a:extLst>
          </p:cNvPr>
          <p:cNvSpPr txBox="1"/>
          <p:nvPr/>
        </p:nvSpPr>
        <p:spPr>
          <a:xfrm>
            <a:off x="2531604" y="2348880"/>
            <a:ext cx="7128792" cy="439248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ent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Component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480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Say Hi </a:t>
            </a:r>
            <a:endParaRPr lang="de-DE" dirty="0"/>
          </a:p>
        </p:txBody>
      </p:sp>
      <p:sp>
        <p:nvSpPr>
          <p:cNvPr id="8" name="Textfeld 3">
            <a:extLst>
              <a:ext uri="{FF2B5EF4-FFF2-40B4-BE49-F238E27FC236}">
                <a16:creationId xmlns:a16="http://schemas.microsoft.com/office/drawing/2014/main" id="{9429A0EC-2DB6-C645-8C40-9F7DF1378DD4}"/>
              </a:ext>
            </a:extLst>
          </p:cNvPr>
          <p:cNvSpPr txBox="1"/>
          <p:nvPr/>
        </p:nvSpPr>
        <p:spPr>
          <a:xfrm>
            <a:off x="623392" y="3426718"/>
            <a:ext cx="5112568" cy="1332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What is your background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Expectations for the training</a:t>
            </a:r>
          </a:p>
        </p:txBody>
      </p:sp>
      <p:pic>
        <p:nvPicPr>
          <p:cNvPr id="5" name="Picture 4" descr="A person with a blue shirt and black hair holding up his hand&#10;&#10;Description automatically generated">
            <a:extLst>
              <a:ext uri="{FF2B5EF4-FFF2-40B4-BE49-F238E27FC236}">
                <a16:creationId xmlns:a16="http://schemas.microsoft.com/office/drawing/2014/main" id="{05B3728C-AD18-C2EE-BF7E-A59DF1AA9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858" y="1484783"/>
            <a:ext cx="7192142" cy="537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427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D44A38-D310-BC4D-ACA0-93351A3E50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1" t="17723" r="7662" b="18133"/>
          <a:stretch/>
        </p:blipFill>
        <p:spPr>
          <a:xfrm>
            <a:off x="3287687" y="2661918"/>
            <a:ext cx="5616624" cy="41960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766E898-86E7-6F4D-8A83-7E482F9E32DB}"/>
              </a:ext>
            </a:extLst>
          </p:cNvPr>
          <p:cNvSpPr txBox="1"/>
          <p:nvPr/>
        </p:nvSpPr>
        <p:spPr>
          <a:xfrm>
            <a:off x="2705063" y="1916832"/>
            <a:ext cx="6781873" cy="57150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ERROR'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highlight>
                  <a:srgbClr val="FF0000"/>
                </a:highlight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-----------------------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7536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</a:t>
            </a:r>
            <a:r>
              <a:rPr lang="de-DE" dirty="0" err="1"/>
              <a:t>flow</a:t>
            </a:r>
            <a:endParaRPr lang="de-DE" dirty="0"/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461147" y="1567741"/>
            <a:ext cx="5269706" cy="554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/>
              <a:t>Update </a:t>
            </a:r>
            <a:r>
              <a:rPr lang="de-DE" dirty="0" err="1"/>
              <a:t>state</a:t>
            </a:r>
            <a:r>
              <a:rPr lang="de-DE" dirty="0"/>
              <a:t> in </a:t>
            </a:r>
            <a:r>
              <a:rPr lang="de-DE" dirty="0" err="1"/>
              <a:t>parent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allbacks</a:t>
            </a:r>
            <a:r>
              <a:rPr lang="de-DE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552899-67DA-E645-BD71-F7F3173C778A}"/>
              </a:ext>
            </a:extLst>
          </p:cNvPr>
          <p:cNvSpPr txBox="1"/>
          <p:nvPr/>
        </p:nvSpPr>
        <p:spPr>
          <a:xfrm>
            <a:off x="1613502" y="1973536"/>
            <a:ext cx="8964996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Parent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  constructo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props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IProp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   supe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props);</a:t>
            </a:r>
          </a:p>
          <a:p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  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 name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98C379"/>
                </a:solidFill>
                <a:latin typeface="Fira Code" panose="020B0809050000020004" pitchFamily="49" charset="0"/>
              </a:rPr>
              <a:t>"Default”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}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&lt;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hildComponent</a:t>
            </a:r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D19A66"/>
                </a:solidFill>
                <a:latin typeface="Fira Code" panose="020B0809050000020004" pitchFamily="49" charset="0"/>
              </a:rPr>
              <a:t>    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400" dirty="0">
                <a:solidFill>
                  <a:srgbClr val="D19A66"/>
                </a:solidFill>
                <a:latin typeface="Fira Code" panose="020B0809050000020004" pitchFamily="49" charset="0"/>
              </a:rPr>
              <a:t>    </a:t>
            </a:r>
            <a:r>
              <a:rPr lang="en-GB" sz="1400" dirty="0" err="1">
                <a:solidFill>
                  <a:srgbClr val="D19A66"/>
                </a:solidFill>
                <a:latin typeface="Fira Code" panose="020B0809050000020004" pitchFamily="49" charset="0"/>
              </a:rPr>
              <a:t>update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(name: 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string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Stat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{ name }); }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/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hild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 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  public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61AFEF"/>
                </a:solidFill>
                <a:latin typeface="Fira Code" panose="020B0809050000020004" pitchFamily="49" charset="0"/>
              </a:rPr>
              <a:t>rende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) {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400" dirty="0">
                <a:solidFill>
                  <a:srgbClr val="BE5046"/>
                </a:solidFill>
                <a:latin typeface="Fira Code" panose="020B0809050000020004" pitchFamily="49" charset="0"/>
              </a:rPr>
              <a:t>      {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4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()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Fira Code" panose="020B0809050000020004" pitchFamily="49" charset="0"/>
              </a:rPr>
              <a:t>update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sz="1400" dirty="0">
                <a:solidFill>
                  <a:srgbClr val="98C379"/>
                </a:solidFill>
                <a:latin typeface="Fira Code" panose="020B0809050000020004" pitchFamily="49" charset="0"/>
              </a:rPr>
              <a:t>""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; }}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  clear name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&lt;/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3093707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lux</a:t>
            </a:r>
            <a:r>
              <a:rPr lang="de-DE" dirty="0"/>
              <a:t> (</a:t>
            </a:r>
            <a:r>
              <a:rPr lang="de-DE" dirty="0" err="1"/>
              <a:t>pattern</a:t>
            </a:r>
            <a:r>
              <a:rPr lang="de-DE" dirty="0"/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316B69-1A32-BC41-B774-F52E2F105678}"/>
              </a:ext>
            </a:extLst>
          </p:cNvPr>
          <p:cNvSpPr txBox="1"/>
          <p:nvPr/>
        </p:nvSpPr>
        <p:spPr>
          <a:xfrm>
            <a:off x="119336" y="6511776"/>
            <a:ext cx="2880320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github.com</a:t>
            </a:r>
            <a:r>
              <a:rPr lang="en-US" sz="1600" dirty="0"/>
              <a:t>/</a:t>
            </a:r>
            <a:r>
              <a:rPr lang="en-US" sz="1600" dirty="0" err="1"/>
              <a:t>facebook</a:t>
            </a:r>
            <a:r>
              <a:rPr lang="en-US" sz="1600" dirty="0"/>
              <a:t>/flux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1F74ADB-7419-D248-818D-D623C9828D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26558" y="2132856"/>
            <a:ext cx="2351584" cy="936871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D6667000-3DAD-7B4A-8698-10DC3BBFB5AE}"/>
              </a:ext>
            </a:extLst>
          </p:cNvPr>
          <p:cNvGrpSpPr/>
          <p:nvPr/>
        </p:nvGrpSpPr>
        <p:grpSpPr>
          <a:xfrm>
            <a:off x="1163452" y="3887291"/>
            <a:ext cx="9865096" cy="798438"/>
            <a:chOff x="1055440" y="3638674"/>
            <a:chExt cx="9865096" cy="798438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F2DBA592-977B-D048-A0F6-5AE1C46A43B0}"/>
                </a:ext>
              </a:extLst>
            </p:cNvPr>
            <p:cNvSpPr/>
            <p:nvPr/>
          </p:nvSpPr>
          <p:spPr>
            <a:xfrm>
              <a:off x="1055440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Action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2AD329A1-AA9E-5E44-BAC7-B1D58EA52982}"/>
                </a:ext>
              </a:extLst>
            </p:cNvPr>
            <p:cNvSpPr/>
            <p:nvPr/>
          </p:nvSpPr>
          <p:spPr>
            <a:xfrm>
              <a:off x="3647728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Dispatcher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F550C454-BEF7-2A42-B214-77CD1C504D09}"/>
                </a:ext>
              </a:extLst>
            </p:cNvPr>
            <p:cNvSpPr/>
            <p:nvPr/>
          </p:nvSpPr>
          <p:spPr>
            <a:xfrm>
              <a:off x="6240016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Store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8CE3E3A-8B6E-9645-BAF3-404CC8911264}"/>
                </a:ext>
              </a:extLst>
            </p:cNvPr>
            <p:cNvSpPr/>
            <p:nvPr/>
          </p:nvSpPr>
          <p:spPr>
            <a:xfrm>
              <a:off x="8832304" y="3645024"/>
              <a:ext cx="2088232" cy="792088"/>
            </a:xfrm>
            <a:prstGeom prst="roundRect">
              <a:avLst/>
            </a:prstGeom>
            <a:noFill/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44B84A"/>
                  </a:solidFill>
                </a:rPr>
                <a:t>View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6F7A47B-FE26-6046-8356-D7FBE564688F}"/>
                </a:ext>
              </a:extLst>
            </p:cNvPr>
            <p:cNvCxnSpPr>
              <a:stCxn id="7" idx="3"/>
              <a:endCxn id="8" idx="1"/>
            </p:cNvCxnSpPr>
            <p:nvPr/>
          </p:nvCxnSpPr>
          <p:spPr>
            <a:xfrm>
              <a:off x="3143672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705C0333-FE45-F24C-8D4C-23CAF31AEB21}"/>
                </a:ext>
              </a:extLst>
            </p:cNvPr>
            <p:cNvCxnSpPr>
              <a:cxnSpLocks/>
              <a:stCxn id="8" idx="3"/>
              <a:endCxn id="9" idx="1"/>
            </p:cNvCxnSpPr>
            <p:nvPr/>
          </p:nvCxnSpPr>
          <p:spPr>
            <a:xfrm>
              <a:off x="5735960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C0686FA5-1F04-4D47-AF94-DD75E9F20B3F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8328248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Elbow Connector 19">
              <a:extLst>
                <a:ext uri="{FF2B5EF4-FFF2-40B4-BE49-F238E27FC236}">
                  <a16:creationId xmlns:a16="http://schemas.microsoft.com/office/drawing/2014/main" id="{F19C3203-29A3-734E-AC1D-829984490F8C}"/>
                </a:ext>
              </a:extLst>
            </p:cNvPr>
            <p:cNvCxnSpPr>
              <a:cxnSpLocks/>
              <a:stCxn id="10" idx="0"/>
              <a:endCxn id="7" idx="0"/>
            </p:cNvCxnSpPr>
            <p:nvPr/>
          </p:nvCxnSpPr>
          <p:spPr>
            <a:xfrm rot="16200000" flipV="1">
              <a:off x="5987988" y="-243408"/>
              <a:ext cx="12700" cy="7776864"/>
            </a:xfrm>
            <a:prstGeom prst="bentConnector3">
              <a:avLst>
                <a:gd name="adj1" fmla="val 4000000"/>
              </a:avLst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Table 7">
            <a:extLst>
              <a:ext uri="{FF2B5EF4-FFF2-40B4-BE49-F238E27FC236}">
                <a16:creationId xmlns:a16="http://schemas.microsoft.com/office/drawing/2014/main" id="{6A3745A1-F6A1-FC43-BCC7-7C830C043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928788"/>
              </p:ext>
            </p:extLst>
          </p:nvPr>
        </p:nvGraphicFramePr>
        <p:xfrm>
          <a:off x="1487488" y="4873597"/>
          <a:ext cx="921702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329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7903725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c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ction is an object containing type property and an optional payloa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Dispatch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Takes a single action at a time and delivers it to the stor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Sto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Stores the state and modifies the state based on actions from the dispatch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Vi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eact components listening to changes in stores (over props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4972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text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07BB71-B753-4E4E-95A3-3FD60F1C6741}"/>
              </a:ext>
            </a:extLst>
          </p:cNvPr>
          <p:cNvSpPr txBox="1"/>
          <p:nvPr/>
        </p:nvSpPr>
        <p:spPr>
          <a:xfrm>
            <a:off x="1613502" y="1700808"/>
            <a:ext cx="8964996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&lt;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Layout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// ...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igationBar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// ...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ef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alink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/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// ...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967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text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D356D5-AB5A-1046-AECD-45C2959ADF34}"/>
              </a:ext>
            </a:extLst>
          </p:cNvPr>
          <p:cNvSpPr txBox="1"/>
          <p:nvPr/>
        </p:nvSpPr>
        <p:spPr>
          <a:xfrm>
            <a:off x="2783632" y="1308324"/>
            <a:ext cx="6624736" cy="55446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px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.Provi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0px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.Provi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Layou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igationBa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</a:t>
            </a:r>
            <a:r>
              <a:rPr lang="de-DE" sz="1400" i="1" dirty="0" err="1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i="1" dirty="0" err="1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ef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ic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extTyp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lt;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g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{width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}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..."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CFBDAC-1D2F-B54B-B8C5-740EFF508496}"/>
              </a:ext>
            </a:extLst>
          </p:cNvPr>
          <p:cNvSpPr txBox="1"/>
          <p:nvPr/>
        </p:nvSpPr>
        <p:spPr>
          <a:xfrm>
            <a:off x="1473200" y="294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10582143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tyl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6F3408-4E3F-094B-9935-87B23C06F586}"/>
              </a:ext>
            </a:extLst>
          </p:cNvPr>
          <p:cNvSpPr txBox="1"/>
          <p:nvPr/>
        </p:nvSpPr>
        <p:spPr>
          <a:xfrm>
            <a:off x="1325470" y="2385648"/>
            <a:ext cx="4626514" cy="42397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or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s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./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ample.module.css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ampl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   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Hello {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sz="1400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C528A9-41D6-0741-8B17-D1730B78BF2C}"/>
              </a:ext>
            </a:extLst>
          </p:cNvPr>
          <p:cNvSpPr txBox="1"/>
          <p:nvPr/>
        </p:nvSpPr>
        <p:spPr>
          <a:xfrm>
            <a:off x="6961834" y="2385648"/>
            <a:ext cx="3906434" cy="42397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Style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height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%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dth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%'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dding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xtAlign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nt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&amp;: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v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sor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int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x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Styl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45002E-110D-7542-9AC4-0C96321DE8A7}"/>
              </a:ext>
            </a:extLst>
          </p:cNvPr>
          <p:cNvSpPr txBox="1"/>
          <p:nvPr/>
        </p:nvSpPr>
        <p:spPr>
          <a:xfrm>
            <a:off x="2639616" y="1916832"/>
            <a:ext cx="10801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600" b="1" dirty="0"/>
              <a:t>Separate fi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ECF8A5-A71D-0945-9E42-80565C2F9B0E}"/>
              </a:ext>
            </a:extLst>
          </p:cNvPr>
          <p:cNvSpPr txBox="1"/>
          <p:nvPr/>
        </p:nvSpPr>
        <p:spPr>
          <a:xfrm>
            <a:off x="8472266" y="1941364"/>
            <a:ext cx="10801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600" b="1" dirty="0"/>
              <a:t>Inline</a:t>
            </a:r>
          </a:p>
        </p:txBody>
      </p:sp>
    </p:spTree>
    <p:extLst>
      <p:ext uri="{BB962C8B-B14F-4D97-AF65-F5344CB8AC3E}">
        <p14:creationId xmlns:p14="http://schemas.microsoft.com/office/powerpoint/2010/main" val="8999207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Controlled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1313384"/>
            <a:ext cx="9073007" cy="55446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For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'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nd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nd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Stat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ge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er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 name was submitted: '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Name: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put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put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6214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endParaRPr lang="de-DE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8D7911-648C-2948-9331-22BCC428958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3429000"/>
            <a:ext cx="9073007" cy="100811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scripts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tes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 --watch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test:ci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 --ci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,</a:t>
            </a:r>
          </a:p>
        </p:txBody>
      </p:sp>
      <p:sp>
        <p:nvSpPr>
          <p:cNvPr id="2" name="Textfeld 3">
            <a:extLst>
              <a:ext uri="{FF2B5EF4-FFF2-40B4-BE49-F238E27FC236}">
                <a16:creationId xmlns:a16="http://schemas.microsoft.com/office/drawing/2014/main" id="{50EEA576-1060-DD24-C2C7-5A70884A5B9D}"/>
              </a:ext>
            </a:extLst>
          </p:cNvPr>
          <p:cNvSpPr txBox="1"/>
          <p:nvPr/>
        </p:nvSpPr>
        <p:spPr>
          <a:xfrm>
            <a:off x="551384" y="6364056"/>
            <a:ext cx="6832376" cy="359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/>
              <a:t>https://</a:t>
            </a:r>
            <a:r>
              <a:rPr lang="de-DE" dirty="0" err="1"/>
              <a:t>jestjs.io</a:t>
            </a:r>
            <a:r>
              <a:rPr lang="de-DE" dirty="0"/>
              <a:t>/</a:t>
            </a:r>
            <a:r>
              <a:rPr lang="de-DE" dirty="0" err="1"/>
              <a:t>docs</a:t>
            </a:r>
            <a:r>
              <a:rPr lang="de-DE" dirty="0"/>
              <a:t>/</a:t>
            </a:r>
            <a:r>
              <a:rPr lang="de-DE" dirty="0" err="1"/>
              <a:t>getting-star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7782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r>
              <a:rPr lang="de-DE" b="1" dirty="0"/>
              <a:t> - </a:t>
            </a:r>
            <a:r>
              <a:rPr lang="de-DE" b="1" dirty="0" err="1"/>
              <a:t>Testing</a:t>
            </a:r>
            <a:endParaRPr lang="de-DE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2204864"/>
            <a:ext cx="9073007" cy="403244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describ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Hello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should show name when clicke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asyn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test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  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ello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nam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);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query returns null if not foun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  expec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queryByT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toBeNull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getByRol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utton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awa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userEven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li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get throws if not foun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getByT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`Hello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${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`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518703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r>
              <a:rPr lang="de-DE" b="1" dirty="0"/>
              <a:t> - Moc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2204864"/>
            <a:ext cx="9073007" cy="403244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describ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LoginFor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le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beforeEac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ockReturnValu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mise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sol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);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py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ockReturnValu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log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uthenticate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fal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regis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,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logou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 . . </a:t>
            </a:r>
          </a:p>
        </p:txBody>
      </p:sp>
    </p:spTree>
    <p:extLst>
      <p:ext uri="{BB962C8B-B14F-4D97-AF65-F5344CB8AC3E}">
        <p14:creationId xmlns:p14="http://schemas.microsoft.com/office/powerpoint/2010/main" val="755802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E9E2B5-E64F-9643-8EC7-014576C9EFE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9833" y="874224"/>
            <a:ext cx="5072334" cy="5072334"/>
          </a:xfrm>
          <a:prstGeom prst="rect">
            <a:avLst/>
          </a:prstGeom>
          <a:noFill/>
        </p:spPr>
      </p:pic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Setup Environment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953CDE-13C1-504F-95C8-6F44DB5D52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14" y="2063056"/>
            <a:ext cx="2185339" cy="2185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2AC185-DE57-FD4D-A0E4-0809718DE7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13" y="3410391"/>
            <a:ext cx="2185339" cy="218533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B334589-578B-5440-B007-7C70D8ADA3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832" y="3148199"/>
            <a:ext cx="1279197" cy="12791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DF33DF-093A-FA4E-86D6-74C1B835E210}"/>
              </a:ext>
            </a:extLst>
          </p:cNvPr>
          <p:cNvSpPr txBox="1"/>
          <p:nvPr/>
        </p:nvSpPr>
        <p:spPr>
          <a:xfrm>
            <a:off x="1199456" y="616530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6"/>
              </a:buBlip>
            </a:pPr>
            <a:endParaRPr lang="en-GB" sz="1600" dirty="0"/>
          </a:p>
        </p:txBody>
      </p:sp>
      <p:sp>
        <p:nvSpPr>
          <p:cNvPr id="12" name="Textfeld 3">
            <a:extLst>
              <a:ext uri="{FF2B5EF4-FFF2-40B4-BE49-F238E27FC236}">
                <a16:creationId xmlns:a16="http://schemas.microsoft.com/office/drawing/2014/main" id="{C855EEAE-2648-2F44-8BDF-50046B8E2442}"/>
              </a:ext>
            </a:extLst>
          </p:cNvPr>
          <p:cNvSpPr txBox="1"/>
          <p:nvPr/>
        </p:nvSpPr>
        <p:spPr>
          <a:xfrm>
            <a:off x="2222260" y="5181953"/>
            <a:ext cx="7500547" cy="1456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>
                <a:hlinkClick r:id="rId7"/>
              </a:rPr>
              <a:t>https://nodejs.org/en/download/</a:t>
            </a:r>
            <a:endParaRPr lang="de-DE" dirty="0"/>
          </a:p>
          <a:p>
            <a:pPr>
              <a:buSzPct val="100000"/>
            </a:pPr>
            <a:r>
              <a:rPr lang="de-DE" dirty="0">
                <a:hlinkClick r:id="rId8"/>
              </a:rPr>
              <a:t>https://code.visualstudio.com/download</a:t>
            </a:r>
            <a:endParaRPr lang="de-DE" dirty="0"/>
          </a:p>
          <a:p>
            <a:pPr>
              <a:buSzPct val="100000"/>
            </a:pPr>
            <a:r>
              <a:rPr lang="de-DE" dirty="0">
                <a:hlinkClick r:id="rId9"/>
              </a:rPr>
              <a:t>https://marketplace.visualstudio.com/items?itemName=nrwl.angular-console</a:t>
            </a:r>
            <a:endParaRPr lang="de-DE" dirty="0"/>
          </a:p>
          <a:p>
            <a:pPr>
              <a:buSzPct val="100000"/>
            </a:pPr>
            <a:r>
              <a:rPr lang="de-DE" dirty="0">
                <a:hlinkClick r:id="rId7"/>
              </a:rPr>
              <a:t>https://marketplace.visualstudio.com/items?itemName=usernamehw.errorlens</a:t>
            </a:r>
          </a:p>
          <a:p>
            <a:pPr>
              <a:buSzPct val="100000"/>
            </a:pPr>
            <a:r>
              <a:rPr lang="de-DE" dirty="0">
                <a:hlinkClick r:id="rId7"/>
              </a:rPr>
              <a:t>https://marketplace.visualstudio.com/items?itemName=esbenp.prettier-vscode</a:t>
            </a:r>
          </a:p>
          <a:p>
            <a:pPr>
              <a:buSzPct val="100000"/>
            </a:pPr>
            <a:endParaRPr lang="de-DE" dirty="0">
              <a:hlinkClick r:id="rId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5F68E2-A84B-FB49-92DF-6FB121083EE7}"/>
              </a:ext>
            </a:extLst>
          </p:cNvPr>
          <p:cNvSpPr/>
          <p:nvPr/>
        </p:nvSpPr>
        <p:spPr>
          <a:xfrm>
            <a:off x="4835860" y="2063056"/>
            <a:ext cx="2520280" cy="2088232"/>
          </a:xfrm>
          <a:prstGeom prst="rect">
            <a:avLst/>
          </a:prstGeom>
          <a:solidFill>
            <a:srgbClr val="7A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6600" b="1" dirty="0"/>
              <a:t>SET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89D67B-F8FD-1E44-9F6E-9752B5CCFB7C}"/>
              </a:ext>
            </a:extLst>
          </p:cNvPr>
          <p:cNvSpPr txBox="1"/>
          <p:nvPr/>
        </p:nvSpPr>
        <p:spPr>
          <a:xfrm>
            <a:off x="4223792" y="3645024"/>
            <a:ext cx="3744416" cy="64807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node </a:t>
            </a:r>
            <a:r>
              <a:rPr lang="en-GB" sz="2000" dirty="0">
                <a:solidFill>
                  <a:srgbClr val="56B6C2"/>
                </a:solidFill>
                <a:latin typeface="Fira Code" panose="020B0809050000020004" pitchFamily="49" charset="0"/>
              </a:rPr>
              <a:t>–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v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v18.X.X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EAD1FF9-75AE-1649-BCBD-E90C75CFAFA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231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MUI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C790E37-A834-BB4D-89EE-8E2D5E4F0ED1}"/>
              </a:ext>
            </a:extLst>
          </p:cNvPr>
          <p:cNvSpPr txBox="1"/>
          <p:nvPr/>
        </p:nvSpPr>
        <p:spPr>
          <a:xfrm>
            <a:off x="2207568" y="2741588"/>
            <a:ext cx="5400599" cy="22322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endParaRPr lang="de-DE" dirty="0"/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r>
              <a:rPr lang="de-DE" dirty="0"/>
              <a:t>Material Design </a:t>
            </a:r>
            <a:r>
              <a:rPr lang="de-DE" dirty="0" err="1"/>
              <a:t>is</a:t>
            </a:r>
            <a:r>
              <a:rPr lang="de-DE" dirty="0"/>
              <a:t> a Design System;</a:t>
            </a:r>
          </a:p>
          <a:p>
            <a:pPr marL="285750" indent="-285750">
              <a:buSzPct val="100000"/>
              <a:buFontTx/>
              <a:buChar char="-"/>
            </a:pPr>
            <a:r>
              <a:rPr lang="de-DE" dirty="0"/>
              <a:t>MUI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React</a:t>
            </a:r>
            <a:r>
              <a:rPr lang="de-DE" dirty="0"/>
              <a:t> Implement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sign System;</a:t>
            </a:r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49D4FB-D2BA-1B46-92EC-0272AFB51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720762"/>
            <a:ext cx="1425600" cy="11314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41F55B-3F6B-164D-A49B-3520C6C7B9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2204864"/>
            <a:ext cx="1422400" cy="1422400"/>
          </a:xfrm>
          <a:prstGeom prst="rect">
            <a:avLst/>
          </a:prstGeom>
        </p:spPr>
      </p:pic>
      <p:sp>
        <p:nvSpPr>
          <p:cNvPr id="9" name="Textfeld 3">
            <a:extLst>
              <a:ext uri="{FF2B5EF4-FFF2-40B4-BE49-F238E27FC236}">
                <a16:creationId xmlns:a16="http://schemas.microsoft.com/office/drawing/2014/main" id="{F1F2BAF9-98CD-924A-8B06-7EEEB7ADD7BE}"/>
              </a:ext>
            </a:extLst>
          </p:cNvPr>
          <p:cNvSpPr txBox="1"/>
          <p:nvPr/>
        </p:nvSpPr>
        <p:spPr>
          <a:xfrm>
            <a:off x="551384" y="6030257"/>
            <a:ext cx="683237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>
                <a:hlinkClick r:id="rId4"/>
              </a:rPr>
              <a:t>https://material.io/design/</a:t>
            </a:r>
            <a:endParaRPr lang="de-DE" dirty="0"/>
          </a:p>
          <a:p>
            <a:pPr>
              <a:buSzPct val="100000"/>
            </a:pPr>
            <a:r>
              <a:rPr lang="de-DE" dirty="0"/>
              <a:t>https://</a:t>
            </a:r>
            <a:r>
              <a:rPr lang="de-DE" dirty="0" err="1"/>
              <a:t>mui.com</a:t>
            </a:r>
            <a:r>
              <a:rPr lang="de-DE" dirty="0"/>
              <a:t>/material-ui/</a:t>
            </a:r>
            <a:r>
              <a:rPr lang="de-DE" dirty="0" err="1"/>
              <a:t>getting-started</a:t>
            </a:r>
            <a:r>
              <a:rPr lang="de-DE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2087699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MU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0B2845-494B-9448-B2E9-A9BCE512102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C3F0558-D9CB-3939-4B14-86FA075D2635}"/>
              </a:ext>
            </a:extLst>
          </p:cNvPr>
          <p:cNvSpPr txBox="1"/>
          <p:nvPr/>
        </p:nvSpPr>
        <p:spPr>
          <a:xfrm>
            <a:off x="1144094" y="2875956"/>
            <a:ext cx="9903811" cy="110608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install @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mui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/material @emotion/react @emotion/styled</a:t>
            </a:r>
            <a:b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</a:br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install @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mui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/icons-material</a:t>
            </a:r>
          </a:p>
        </p:txBody>
      </p:sp>
    </p:spTree>
    <p:extLst>
      <p:ext uri="{BB962C8B-B14F-4D97-AF65-F5344CB8AC3E}">
        <p14:creationId xmlns:p14="http://schemas.microsoft.com/office/powerpoint/2010/main" val="32392540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Theme</a:t>
            </a:r>
            <a:r>
              <a:rPr lang="de-DE" dirty="0"/>
              <a:t> &amp; Styl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7F739B-67E3-4CF7-C601-956B5D8A62F1}"/>
              </a:ext>
            </a:extLst>
          </p:cNvPr>
          <p:cNvSpPr txBox="1"/>
          <p:nvPr/>
        </p:nvSpPr>
        <p:spPr>
          <a:xfrm>
            <a:off x="227348" y="1772816"/>
            <a:ext cx="11737303" cy="4725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Custom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{ </a:t>
            </a:r>
            <a:r>
              <a:rPr lang="en-US" sz="20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Memo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retur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Them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palett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primary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  mai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#6E9C9F’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},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secondary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  mai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#91DD98’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}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}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)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 []);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retur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23917461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Using</a:t>
            </a:r>
            <a:r>
              <a:rPr lang="de-DE" dirty="0"/>
              <a:t> MU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B02000-8B0D-80C7-06A1-70BB10000664}"/>
              </a:ext>
            </a:extLst>
          </p:cNvPr>
          <p:cNvSpPr txBox="1"/>
          <p:nvPr/>
        </p:nvSpPr>
        <p:spPr>
          <a:xfrm>
            <a:off x="1685510" y="1772816"/>
            <a:ext cx="8820980" cy="4725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aper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x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width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80%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dding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2rem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}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ack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pacing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3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1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gin&lt;/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1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label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”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valu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hang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onEmailChang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/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label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Password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password”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valu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ssword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hang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onPasswordChang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</a:p>
          <a:p>
            <a:r>
              <a:rPr lang="en-US" sz="2000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submit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gin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ack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ap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16863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Use Ic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CF7158-1650-A4D0-C46C-13B5A5EE098F}"/>
              </a:ext>
            </a:extLst>
          </p:cNvPr>
          <p:cNvSpPr txBox="1"/>
          <p:nvPr/>
        </p:nvSpPr>
        <p:spPr>
          <a:xfrm>
            <a:off x="1685510" y="1772816"/>
            <a:ext cx="8820980" cy="41764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SaveIc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@</a:t>
            </a:r>
            <a:r>
              <a:rPr lang="en-US" sz="2000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mui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icons-material/Save'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variant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contained"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tartIcon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aveIc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lick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. . . 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Save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6995774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endParaRPr lang="de-DE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AC6211-6D92-904B-9BE8-BB4DDD651EC6}"/>
              </a:ext>
            </a:extLst>
          </p:cNvPr>
          <p:cNvSpPr txBox="1"/>
          <p:nvPr/>
        </p:nvSpPr>
        <p:spPr>
          <a:xfrm>
            <a:off x="191343" y="6472152"/>
            <a:ext cx="468052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formik.org</a:t>
            </a:r>
            <a:r>
              <a:rPr lang="en-GB" sz="1600" dirty="0"/>
              <a:t>/docs/overvie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8B6016-28B1-6048-9791-BA9660B940F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C53CADE-AD79-8A4C-B9E4-1AA9EFB69A10}"/>
              </a:ext>
            </a:extLst>
          </p:cNvPr>
          <p:cNvSpPr txBox="1"/>
          <p:nvPr/>
        </p:nvSpPr>
        <p:spPr>
          <a:xfrm>
            <a:off x="1559496" y="3633060"/>
            <a:ext cx="9073007" cy="5470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ik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yup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92226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endParaRPr lang="de-DE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76EEC7-D09A-5445-8127-41238237EBE0}"/>
              </a:ext>
            </a:extLst>
          </p:cNvPr>
          <p:cNvSpPr txBox="1"/>
          <p:nvPr/>
        </p:nvSpPr>
        <p:spPr>
          <a:xfrm>
            <a:off x="360017" y="1700808"/>
            <a:ext cx="11377262" cy="50405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ormik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4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initialValues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nitialValues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4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Submit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login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sswor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}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or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name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  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or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ieldProp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)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&lt;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      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..</a:t>
            </a:r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        label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        type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”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 /&gt;</a:t>
            </a:r>
          </a:p>
          <a:p>
            <a:r>
              <a:rPr lang="en-US" sz="2400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}</a:t>
            </a:r>
          </a:p>
        </p:txBody>
      </p:sp>
    </p:spTree>
    <p:extLst>
      <p:ext uri="{BB962C8B-B14F-4D97-AF65-F5344CB8AC3E}">
        <p14:creationId xmlns:p14="http://schemas.microsoft.com/office/powerpoint/2010/main" val="67171216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r>
              <a:rPr lang="de-DE" b="1" dirty="0"/>
              <a:t> - Valid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76EEC7-D09A-5445-8127-41238237EBE0}"/>
              </a:ext>
            </a:extLst>
          </p:cNvPr>
          <p:cNvSpPr txBox="1"/>
          <p:nvPr/>
        </p:nvSpPr>
        <p:spPr>
          <a:xfrm>
            <a:off x="8200" y="2564904"/>
            <a:ext cx="12183800" cy="28803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*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a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yup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Schema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objec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hape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Invalid email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quire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quired’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,</a:t>
            </a:r>
          </a:p>
          <a:p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passwor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in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8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Too Short!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quire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quired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,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399385395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r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FECE93-6DC5-3049-81A2-774AAA11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pic>
        <p:nvPicPr>
          <p:cNvPr id="12" name="Picture 11" descr="A screenshot of a login screen&#10;&#10;Description automatically generated">
            <a:extLst>
              <a:ext uri="{FF2B5EF4-FFF2-40B4-BE49-F238E27FC236}">
                <a16:creationId xmlns:a16="http://schemas.microsoft.com/office/drawing/2014/main" id="{B1880A52-B7E3-5D8D-A478-5CDAEEFDF3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2366601"/>
            <a:ext cx="4895414" cy="3307712"/>
          </a:xfrm>
          <a:prstGeom prst="rect">
            <a:avLst/>
          </a:prstGeom>
        </p:spPr>
      </p:pic>
      <p:pic>
        <p:nvPicPr>
          <p:cNvPr id="14" name="Picture 13" descr="A screenshot of a login form&#10;&#10;Description automatically generated">
            <a:extLst>
              <a:ext uri="{FF2B5EF4-FFF2-40B4-BE49-F238E27FC236}">
                <a16:creationId xmlns:a16="http://schemas.microsoft.com/office/drawing/2014/main" id="{99460F03-2DC4-42BD-91B6-78EAAB4ED3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114" y="2366601"/>
            <a:ext cx="4895414" cy="3560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0827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Async</a:t>
            </a:r>
            <a:r>
              <a:rPr lang="de-DE" dirty="0"/>
              <a:t> </a:t>
            </a:r>
            <a:r>
              <a:rPr lang="de-DE" dirty="0" err="1"/>
              <a:t>calls</a:t>
            </a:r>
            <a:r>
              <a:rPr lang="de-DE" dirty="0"/>
              <a:t> AX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15D370-D4FE-AB45-AA7D-D6A26366D275}"/>
              </a:ext>
            </a:extLst>
          </p:cNvPr>
          <p:cNvSpPr txBox="1"/>
          <p:nvPr/>
        </p:nvSpPr>
        <p:spPr>
          <a:xfrm>
            <a:off x="1055440" y="1729168"/>
            <a:ext cx="2664296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 err="1"/>
              <a:t>Promis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HTTP </a:t>
            </a:r>
            <a:r>
              <a:rPr lang="de-DE" dirty="0" err="1"/>
              <a:t>client</a:t>
            </a:r>
            <a:endParaRPr lang="en-GB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AB7120-2E96-B044-862E-B997F431E59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B265554-414F-EF40-81D3-77B755E10561}"/>
              </a:ext>
            </a:extLst>
          </p:cNvPr>
          <p:cNvSpPr txBox="1"/>
          <p:nvPr/>
        </p:nvSpPr>
        <p:spPr>
          <a:xfrm>
            <a:off x="2783632" y="2693337"/>
            <a:ext cx="6624736" cy="54452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xios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6C3F0A-0EAE-AD48-826C-17C64DA68DA8}"/>
              </a:ext>
            </a:extLst>
          </p:cNvPr>
          <p:cNvSpPr txBox="1"/>
          <p:nvPr/>
        </p:nvSpPr>
        <p:spPr>
          <a:xfrm>
            <a:off x="2783260" y="4210545"/>
            <a:ext cx="6624736" cy="146504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350"/>
              </a:lnSpc>
            </a:pPr>
            <a:r>
              <a:rPr lang="en-US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xio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method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get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rl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https://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.com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n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pon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TODO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298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US" dirty="0"/>
              <a:t>Typescript Refresher</a:t>
            </a:r>
            <a:endParaRPr lang="de-DE" dirty="0"/>
          </a:p>
        </p:txBody>
      </p:sp>
      <p:sp>
        <p:nvSpPr>
          <p:cNvPr id="13" name="Textfeld 3">
            <a:extLst>
              <a:ext uri="{FF2B5EF4-FFF2-40B4-BE49-F238E27FC236}">
                <a16:creationId xmlns:a16="http://schemas.microsoft.com/office/drawing/2014/main" id="{498DA2B5-3634-7343-BE92-F8403FBDC90D}"/>
              </a:ext>
            </a:extLst>
          </p:cNvPr>
          <p:cNvSpPr txBox="1"/>
          <p:nvPr/>
        </p:nvSpPr>
        <p:spPr>
          <a:xfrm>
            <a:off x="1289466" y="1399258"/>
            <a:ext cx="9613068" cy="40594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endParaRPr lang="en-GB" sz="2000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Superset of JavaScript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Compiles to JavaScript (cannot be directly executed in Browser or NodeJS; runs in </a:t>
            </a:r>
            <a:r>
              <a:rPr lang="en-GB" sz="2000" dirty="0" err="1"/>
              <a:t>Deno</a:t>
            </a:r>
            <a:r>
              <a:rPr lang="en-GB" sz="2000" dirty="0"/>
              <a:t>)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Static typing (on demand e.g. </a:t>
            </a:r>
            <a:r>
              <a:rPr lang="en-GB" sz="2000" dirty="0" err="1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boolean</a:t>
            </a:r>
            <a:r>
              <a:rPr lang="en-GB" sz="2000" dirty="0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, number, string, any, interfaces</a:t>
            </a:r>
            <a:r>
              <a:rPr lang="en-GB" sz="2000" dirty="0"/>
              <a:t>)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Compile time type safety e.g. avoid the classic  </a:t>
            </a:r>
            <a:r>
              <a:rPr lang="en-GB" sz="2000" dirty="0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'undefined' is not a function.</a:t>
            </a:r>
            <a:r>
              <a:rPr lang="en-GB" sz="2000" dirty="0">
                <a:solidFill>
                  <a:srgbClr val="000000"/>
                </a:solidFill>
                <a:highlight>
                  <a:srgbClr val="C0C0C0"/>
                </a:highlight>
                <a:latin typeface="SourceCodePro"/>
              </a:rPr>
              <a:t> </a:t>
            </a:r>
            <a:endParaRPr lang="en-GB" sz="2000" dirty="0">
              <a:highlight>
                <a:srgbClr val="C0C0C0"/>
              </a:highlight>
            </a:endParaRP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.</a:t>
            </a:r>
            <a:r>
              <a:rPr lang="en-GB" sz="2000" dirty="0" err="1"/>
              <a:t>ts</a:t>
            </a:r>
            <a:r>
              <a:rPr lang="en-GB" sz="2000" dirty="0"/>
              <a:t> file extension instead of .</a:t>
            </a:r>
            <a:r>
              <a:rPr lang="en-GB" sz="2000" dirty="0" err="1"/>
              <a:t>js</a:t>
            </a:r>
            <a:endParaRPr lang="en-GB" sz="2000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Created and maintained by Microsoft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“Safety at Scale”</a:t>
            </a:r>
          </a:p>
          <a:p>
            <a:pPr>
              <a:buSzPct val="100000"/>
            </a:pPr>
            <a:r>
              <a:rPr lang="en-GB" sz="2000" dirty="0"/>
              <a:t>https://</a:t>
            </a:r>
            <a:r>
              <a:rPr lang="en-GB" sz="2000" dirty="0" err="1"/>
              <a:t>www.typescriptlang.org</a:t>
            </a:r>
            <a:endParaRPr lang="en-GB" sz="2000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A11814-2A8B-F848-B606-1189D1DA5E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3035008"/>
            <a:ext cx="1163264" cy="11632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EF4ACEA-BDC9-B945-B194-73D983B4C7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510" y="4260219"/>
            <a:ext cx="9066980" cy="251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737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AXIOS </a:t>
            </a:r>
            <a:r>
              <a:rPr lang="de-DE" dirty="0" err="1"/>
              <a:t>interceptors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8B3200-C903-AB4A-A473-20D064E8C247}"/>
              </a:ext>
            </a:extLst>
          </p:cNvPr>
          <p:cNvSpPr txBox="1"/>
          <p:nvPr/>
        </p:nvSpPr>
        <p:spPr>
          <a:xfrm>
            <a:off x="2711438" y="2564904"/>
            <a:ext cx="6769124" cy="309634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xio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interceptor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quest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func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: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ny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new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mi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solv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,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ject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st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localStorage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getItem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'</a:t>
            </a:r>
            <a:r>
              <a:rPr lang="de-DE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'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if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    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header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uthoriza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`</a:t>
            </a:r>
            <a:r>
              <a:rPr lang="de-DE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Bearer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${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`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solv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,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func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error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: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ny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mise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ject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erro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05082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-Que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FECE93-6DC5-3049-81A2-774AAA11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50B87D2-6D9C-10EB-9BAD-4F5069CC8A56}"/>
              </a:ext>
            </a:extLst>
          </p:cNvPr>
          <p:cNvSpPr txBox="1"/>
          <p:nvPr/>
        </p:nvSpPr>
        <p:spPr>
          <a:xfrm>
            <a:off x="2783632" y="2693337"/>
            <a:ext cx="6624736" cy="54452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@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nstack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react-query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F38AD9-FBB0-9561-D844-074CD449B0A2}"/>
              </a:ext>
            </a:extLst>
          </p:cNvPr>
          <p:cNvSpPr txBox="1"/>
          <p:nvPr/>
        </p:nvSpPr>
        <p:spPr>
          <a:xfrm>
            <a:off x="186035" y="6477596"/>
            <a:ext cx="4608512" cy="2967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tanstack.com</a:t>
            </a:r>
            <a:r>
              <a:rPr lang="en-GB" sz="1600" dirty="0"/>
              <a:t>/query/v4/docs/react/installation</a:t>
            </a:r>
          </a:p>
        </p:txBody>
      </p:sp>
    </p:spTree>
    <p:extLst>
      <p:ext uri="{BB962C8B-B14F-4D97-AF65-F5344CB8AC3E}">
        <p14:creationId xmlns:p14="http://schemas.microsoft.com/office/powerpoint/2010/main" val="13807054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-Que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0B87D2-6D9C-10EB-9BAD-4F5069CC8A56}"/>
              </a:ext>
            </a:extLst>
          </p:cNvPr>
          <p:cNvSpPr txBox="1"/>
          <p:nvPr/>
        </p:nvSpPr>
        <p:spPr>
          <a:xfrm>
            <a:off x="2063552" y="2564904"/>
            <a:ext cx="8064896" cy="253586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sz="1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1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@</a:t>
            </a:r>
            <a:r>
              <a:rPr lang="en-US" sz="1400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tanstack</a:t>
            </a:r>
            <a:r>
              <a:rPr lang="en-US" sz="1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react-query'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new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endParaRPr lang="en-US" sz="1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endParaRPr lang="en-US" sz="1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client</a:t>
            </a:r>
            <a:r>
              <a:rPr lang="en-US" sz="1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. . . </a:t>
            </a: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sz="1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1440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react-router-</a:t>
            </a:r>
            <a:r>
              <a:rPr lang="en-US" dirty="0" err="1"/>
              <a:t>dom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3A51CD-983C-8E48-BA1E-06FF8F57D8A4}"/>
              </a:ext>
            </a:extLst>
          </p:cNvPr>
          <p:cNvSpPr txBox="1"/>
          <p:nvPr/>
        </p:nvSpPr>
        <p:spPr>
          <a:xfrm>
            <a:off x="186035" y="6477596"/>
            <a:ext cx="4608512" cy="2967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reactrouter.com</a:t>
            </a:r>
            <a:r>
              <a:rPr lang="en-GB" sz="1600" dirty="0"/>
              <a:t>/</a:t>
            </a:r>
            <a:r>
              <a:rPr lang="en-GB" sz="1600" dirty="0" err="1"/>
              <a:t>en</a:t>
            </a:r>
            <a:r>
              <a:rPr lang="en-GB" sz="1600" dirty="0"/>
              <a:t>/ma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34384F-E35C-2F4A-AB98-088E1741ED1A}"/>
              </a:ext>
            </a:extLst>
          </p:cNvPr>
          <p:cNvSpPr txBox="1"/>
          <p:nvPr/>
        </p:nvSpPr>
        <p:spPr>
          <a:xfrm>
            <a:off x="2636335" y="3227450"/>
            <a:ext cx="6919330" cy="8730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router-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m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-D @types/react-router-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m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54457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Wildcard path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BE48A-6019-B64F-A2FD-3569D3018620}"/>
              </a:ext>
            </a:extLst>
          </p:cNvPr>
          <p:cNvSpPr txBox="1"/>
          <p:nvPr/>
        </p:nvSpPr>
        <p:spPr>
          <a:xfrm>
            <a:off x="1546466" y="1700808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act-router-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o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not-foun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*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5AEF0B-0575-F079-EA10-A57D589B41A2}"/>
              </a:ext>
            </a:extLst>
          </p:cNvPr>
          <p:cNvSpPr txBox="1"/>
          <p:nvPr/>
        </p:nvSpPr>
        <p:spPr>
          <a:xfrm>
            <a:off x="1559496" y="5301208"/>
            <a:ext cx="9073007" cy="1296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o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Provi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60168213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Lazy Loading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BE48A-6019-B64F-A2FD-3569D3018620}"/>
              </a:ext>
            </a:extLst>
          </p:cNvPr>
          <p:cNvSpPr txBox="1"/>
          <p:nvPr/>
        </p:nvSpPr>
        <p:spPr>
          <a:xfrm>
            <a:off x="1546466" y="1484784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act-router-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o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lazy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not-foun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*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5AEF0B-0575-F079-EA10-A57D589B41A2}"/>
              </a:ext>
            </a:extLst>
          </p:cNvPr>
          <p:cNvSpPr txBox="1"/>
          <p:nvPr/>
        </p:nvSpPr>
        <p:spPr>
          <a:xfrm>
            <a:off x="1559496" y="4941168"/>
            <a:ext cx="9073007" cy="187220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o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uspen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fallback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ading...&lt;/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Provi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/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uspen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43448844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URL Parameter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2DB2A7-0E26-AD06-57B8-1687B7F7AAE4}"/>
              </a:ext>
            </a:extLst>
          </p:cNvPr>
          <p:cNvSpPr txBox="1"/>
          <p:nvPr/>
        </p:nvSpPr>
        <p:spPr>
          <a:xfrm>
            <a:off x="1559496" y="2492896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item/:id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Param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id: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d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23465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Menu Navig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BBE510-5EF2-F733-5BEE-DD306B5E8AE5}"/>
              </a:ext>
            </a:extLst>
          </p:cNvPr>
          <p:cNvSpPr txBox="1"/>
          <p:nvPr/>
        </p:nvSpPr>
        <p:spPr>
          <a:xfrm>
            <a:off x="2243572" y="1556792"/>
            <a:ext cx="7704856" cy="525628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/ Navigate to another rout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ink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item/1”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tat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s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valu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&gt;</a:t>
            </a:r>
          </a:p>
          <a:p>
            <a:endParaRPr lang="en-US" b="0" dirty="0">
              <a:solidFill>
                <a:srgbClr val="C678DD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state }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Loc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 // get state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/ Navigate to another route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//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and get feedback if the “to” target route is activ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Link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home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styl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ontWeigh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ol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colo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lack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Hom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Lin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31416768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Navig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3149936"/>
            <a:ext cx="8424936" cy="122413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edirec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56683438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</a:t>
            </a:r>
            <a:r>
              <a:rPr lang="en-US" dirty="0" err="1"/>
              <a:t>AuthGuard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2276872"/>
            <a:ext cx="8424936" cy="32403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AuthGuar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</a:p>
          <a:p>
            <a:r>
              <a:rPr lang="en-US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370980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Install React</a:t>
            </a:r>
          </a:p>
          <a:p>
            <a:pPr lvl="1"/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2398664" y="2265374"/>
            <a:ext cx="4896543" cy="37062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JS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UI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Not a Framework!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Development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eclarative</a:t>
            </a:r>
            <a:r>
              <a:rPr lang="de-DE" dirty="0"/>
              <a:t> (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scrib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UI)</a:t>
            </a:r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tate-Driven UI (UI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)</a:t>
            </a:r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Virtual DOM</a:t>
            </a:r>
          </a:p>
          <a:p>
            <a:pPr>
              <a:buSzPct val="100000"/>
            </a:pPr>
            <a:endParaRPr lang="de-DE" dirty="0"/>
          </a:p>
          <a:p>
            <a:pPr>
              <a:buSzPct val="100000"/>
            </a:pPr>
            <a:r>
              <a:rPr lang="de-DE" dirty="0"/>
              <a:t>https://</a:t>
            </a:r>
            <a:r>
              <a:rPr lang="de-DE" dirty="0" err="1"/>
              <a:t>react.dev</a:t>
            </a:r>
            <a:r>
              <a:rPr lang="de-DE" dirty="0"/>
              <a:t>/</a:t>
            </a:r>
            <a:r>
              <a:rPr lang="de-DE" dirty="0" err="1"/>
              <a:t>learn</a:t>
            </a:r>
            <a:r>
              <a:rPr lang="de-DE" dirty="0"/>
              <a:t>/</a:t>
            </a:r>
            <a:r>
              <a:rPr lang="de-DE" dirty="0" err="1"/>
              <a:t>installation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AA94CA-3794-7540-9BD6-3D7E00721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136" y="2492896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35823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</a:t>
            </a:r>
            <a:r>
              <a:rPr lang="en-US" dirty="0" err="1"/>
              <a:t>DeepLink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2133004"/>
            <a:ext cx="8424936" cy="41764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AuthGuar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if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!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{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store the current location and redirect after login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calStorage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et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eepLink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window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locatio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ref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</a:p>
          <a:p>
            <a:r>
              <a:rPr lang="en-US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40977055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C3A8CB-3CAD-BF05-3180-DCE7428BF5C4}"/>
              </a:ext>
            </a:extLst>
          </p:cNvPr>
          <p:cNvSpPr txBox="1"/>
          <p:nvPr/>
        </p:nvSpPr>
        <p:spPr>
          <a:xfrm>
            <a:off x="186035" y="6453336"/>
            <a:ext cx="4608512" cy="3209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SzPct val="100000"/>
            </a:pPr>
            <a:r>
              <a:rPr lang="de-DE" sz="1600" dirty="0"/>
              <a:t>https://react.i18next.com/</a:t>
            </a:r>
            <a:r>
              <a:rPr lang="de-DE" sz="1600" dirty="0" err="1"/>
              <a:t>getting-started</a:t>
            </a:r>
            <a:endParaRPr lang="de-DE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4FFC4C-640F-CEAD-B582-08CDBF65C274}"/>
              </a:ext>
            </a:extLst>
          </p:cNvPr>
          <p:cNvSpPr txBox="1"/>
          <p:nvPr/>
        </p:nvSpPr>
        <p:spPr>
          <a:xfrm>
            <a:off x="2636335" y="3227450"/>
            <a:ext cx="6919330" cy="63359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i18next i18nex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71914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805B8E-BF7A-DB44-C6A0-73DDA1343F1D}"/>
              </a:ext>
            </a:extLst>
          </p:cNvPr>
          <p:cNvSpPr txBox="1"/>
          <p:nvPr/>
        </p:nvSpPr>
        <p:spPr>
          <a:xfrm>
            <a:off x="1397478" y="1700808"/>
            <a:ext cx="9397044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n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components.jso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nitI18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i18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nitReactI18n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n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resource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dirty="0">
                <a:solidFill>
                  <a:srgbClr val="E06C75"/>
                </a:solidFill>
                <a:latin typeface="Fira Code" panose="020B0809050000020004" pitchFamily="34" charset="0"/>
              </a:rPr>
              <a:t>      </a:t>
            </a:r>
            <a:r>
              <a:rPr lang="en-US" dirty="0" err="1">
                <a:solidFill>
                  <a:srgbClr val="E06C75"/>
                </a:solidFill>
                <a:latin typeface="Fira Code" panose="020B0809050000020004" pitchFamily="34" charset="0"/>
              </a:rPr>
              <a:t>e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n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l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allbackL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Components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   'components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keyPrefix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undefine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);</a:t>
            </a:r>
          </a:p>
        </p:txBody>
      </p:sp>
    </p:spTree>
    <p:extLst>
      <p:ext uri="{BB962C8B-B14F-4D97-AF65-F5344CB8AC3E}">
        <p14:creationId xmlns:p14="http://schemas.microsoft.com/office/powerpoint/2010/main" val="263706363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805B8E-BF7A-DB44-C6A0-73DDA1343F1D}"/>
              </a:ext>
            </a:extLst>
          </p:cNvPr>
          <p:cNvSpPr txBox="1"/>
          <p:nvPr/>
        </p:nvSpPr>
        <p:spPr>
          <a:xfrm>
            <a:off x="1397478" y="2780928"/>
            <a:ext cx="9397044" cy="216024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Components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AppContainer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…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{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home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09733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Create a </a:t>
            </a:r>
            <a:r>
              <a:rPr lang="de-DE" dirty="0" err="1"/>
              <a:t>note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5ACD56-0FC8-C749-B34C-D836AEAE6F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71" t="18611" r="20826" b="44208"/>
          <a:stretch/>
        </p:blipFill>
        <p:spPr>
          <a:xfrm>
            <a:off x="4223792" y="1709480"/>
            <a:ext cx="3744416" cy="4680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66D8DA-C4DB-EE47-B989-00378E22DB2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23366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AP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056F4F-6D6D-F24E-B49B-5A17C857F37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8BF63E35-4A8C-252B-5F6E-882C41CB93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628800"/>
            <a:ext cx="7772400" cy="420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79576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</a:t>
            </a:r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7C1E23-2FC4-824B-B12C-61A389DDC1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852936"/>
            <a:ext cx="2520280" cy="2278944"/>
          </a:xfrm>
          <a:prstGeom prst="rect">
            <a:avLst/>
          </a:prstGeom>
        </p:spPr>
      </p:pic>
      <p:sp>
        <p:nvSpPr>
          <p:cNvPr id="9" name="Textfeld 3">
            <a:extLst>
              <a:ext uri="{FF2B5EF4-FFF2-40B4-BE49-F238E27FC236}">
                <a16:creationId xmlns:a16="http://schemas.microsoft.com/office/drawing/2014/main" id="{A1BD817D-5613-054D-80A9-E0C09686646F}"/>
              </a:ext>
            </a:extLst>
          </p:cNvPr>
          <p:cNvSpPr txBox="1"/>
          <p:nvPr/>
        </p:nvSpPr>
        <p:spPr>
          <a:xfrm>
            <a:off x="2207568" y="2741588"/>
            <a:ext cx="5400599" cy="22322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entralized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ontainer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Flexible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Predictable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ebuggable</a:t>
            </a:r>
            <a:endParaRPr lang="de-DE" dirty="0"/>
          </a:p>
          <a:p>
            <a:pPr>
              <a:buSzPct val="100000"/>
            </a:pP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9CA609-A805-3AF8-0963-C48748F9EC04}"/>
              </a:ext>
            </a:extLst>
          </p:cNvPr>
          <p:cNvSpPr txBox="1"/>
          <p:nvPr/>
        </p:nvSpPr>
        <p:spPr>
          <a:xfrm>
            <a:off x="186035" y="6165304"/>
            <a:ext cx="4608512" cy="6089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SzPct val="100000"/>
            </a:pPr>
            <a:r>
              <a:rPr lang="de-DE" sz="1600" dirty="0"/>
              <a:t>https://</a:t>
            </a:r>
            <a:r>
              <a:rPr lang="de-DE" sz="1600" dirty="0" err="1"/>
              <a:t>redux.js.org</a:t>
            </a:r>
            <a:r>
              <a:rPr lang="de-DE" sz="1600" dirty="0"/>
              <a:t>/</a:t>
            </a:r>
          </a:p>
          <a:p>
            <a:pPr>
              <a:buSzPct val="100000"/>
            </a:pPr>
            <a:r>
              <a:rPr lang="de-DE" sz="1600" dirty="0"/>
              <a:t>https://</a:t>
            </a:r>
            <a:r>
              <a:rPr lang="de-DE" sz="1600" dirty="0" err="1"/>
              <a:t>redux-toolkit.js.org</a:t>
            </a:r>
            <a:r>
              <a:rPr lang="de-DE" sz="16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9286286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store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349BBA-BC28-C949-8199-A481CEF044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" t="1848" r="1805" b="3052"/>
          <a:stretch/>
        </p:blipFill>
        <p:spPr>
          <a:xfrm>
            <a:off x="2191160" y="1700808"/>
            <a:ext cx="7809679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81975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Data Flow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CBCD34-94A9-974A-8CE4-0C9E9BB32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20" y="1916832"/>
            <a:ext cx="5040560" cy="41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342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etup Redux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45C2F5-E59B-424B-ADEB-FB4E06528BA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9A3666-A8AC-F041-8942-413220A1C4B1}"/>
              </a:ext>
            </a:extLst>
          </p:cNvPr>
          <p:cNvSpPr txBox="1"/>
          <p:nvPr/>
        </p:nvSpPr>
        <p:spPr>
          <a:xfrm>
            <a:off x="2636335" y="2708920"/>
            <a:ext cx="6919330" cy="243379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redux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@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xjs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toolki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dux-logger</a:t>
            </a:r>
            <a:endParaRPr lang="en-DE" sz="2400" dirty="0">
              <a:solidFill>
                <a:srgbClr val="FFFFFF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-D @types/redux-logger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736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3">
            <a:extLst>
              <a:ext uri="{FF2B5EF4-FFF2-40B4-BE49-F238E27FC236}">
                <a16:creationId xmlns:a16="http://schemas.microsoft.com/office/drawing/2014/main" id="{E0E97CE3-411D-4440-93B1-BD3FEECB1AC8}"/>
              </a:ext>
            </a:extLst>
          </p:cNvPr>
          <p:cNvSpPr txBox="1"/>
          <p:nvPr/>
        </p:nvSpPr>
        <p:spPr>
          <a:xfrm>
            <a:off x="3935760" y="2609876"/>
            <a:ext cx="4320480" cy="2520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en-GB" sz="2000" b="1" dirty="0"/>
              <a:t>React doesn‘t provide guidelines for:</a:t>
            </a:r>
          </a:p>
          <a:p>
            <a:pPr>
              <a:buSzPct val="100000"/>
            </a:pPr>
            <a:endParaRPr lang="en-GB" sz="2000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Rout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Styling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Network communication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Async tasks hand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Internationalisation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etc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B27510C-5457-E142-A32C-C0DBBA4E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GB" dirty="0"/>
              <a:t>Not a Framework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51581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Logger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D99CF8-79F0-2646-942C-7ED301874A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122" y="1994790"/>
            <a:ext cx="8301755" cy="486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70796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</a:t>
            </a:r>
            <a:r>
              <a:rPr lang="en-US" dirty="0" err="1"/>
              <a:t>DevTools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5522B-FF71-9744-ABEA-5D69C95E95FF}"/>
              </a:ext>
            </a:extLst>
          </p:cNvPr>
          <p:cNvSpPr txBox="1"/>
          <p:nvPr/>
        </p:nvSpPr>
        <p:spPr>
          <a:xfrm>
            <a:off x="911424" y="6309320"/>
            <a:ext cx="7128792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hlinkClick r:id="rId2"/>
              </a:rPr>
              <a:t>https://</a:t>
            </a:r>
            <a:r>
              <a:rPr lang="en-GB" sz="1600" dirty="0" err="1">
                <a:hlinkClick r:id="rId2"/>
              </a:rPr>
              <a:t>chrome.google.com</a:t>
            </a:r>
            <a:r>
              <a:rPr lang="en-GB" sz="1600" dirty="0">
                <a:hlinkClick r:id="rId2"/>
              </a:rPr>
              <a:t>/webstore/detail/redux-</a:t>
            </a:r>
            <a:r>
              <a:rPr lang="en-GB" sz="1600" dirty="0" err="1">
                <a:hlinkClick r:id="rId2"/>
              </a:rPr>
              <a:t>devtools</a:t>
            </a:r>
            <a:r>
              <a:rPr lang="en-GB" sz="1600" dirty="0">
                <a:hlinkClick r:id="rId2"/>
              </a:rPr>
              <a:t>/</a:t>
            </a:r>
            <a:r>
              <a:rPr lang="en-GB" sz="1600" dirty="0" err="1">
                <a:hlinkClick r:id="rId2"/>
              </a:rPr>
              <a:t>lmhkpmbekcpmknklioeibfkpmmfibljd</a:t>
            </a:r>
            <a:endParaRPr lang="en-GB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78AE7F-2AA2-C947-BE8F-6520262BE0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604" y="1630062"/>
            <a:ext cx="7128792" cy="434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40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1D9E884-D503-D74A-B068-F62C31BE20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52184" y="5013176"/>
            <a:ext cx="4224001" cy="926023"/>
          </a:xfrm>
        </p:spPr>
        <p:txBody>
          <a:bodyPr/>
          <a:lstStyle/>
          <a:p>
            <a:r>
              <a:rPr lang="en-GB" b="1" dirty="0"/>
              <a:t>Vladimir </a:t>
            </a:r>
            <a:r>
              <a:rPr lang="en-GB" b="1" dirty="0" err="1"/>
              <a:t>Daskalov</a:t>
            </a:r>
            <a:endParaRPr lang="en-GB" b="1" dirty="0"/>
          </a:p>
          <a:p>
            <a:r>
              <a:rPr lang="en-GB" b="1" dirty="0"/>
              <a:t>E-Mail: </a:t>
            </a:r>
            <a:r>
              <a:rPr lang="en-GB" b="1" dirty="0" err="1"/>
              <a:t>vdaskalov@it-economics.de</a:t>
            </a:r>
            <a:endParaRPr lang="en-GB" b="1" dirty="0"/>
          </a:p>
          <a:p>
            <a:r>
              <a:rPr lang="en-GB" b="1" dirty="0"/>
              <a:t>Phone: +49 151 4020 1811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DAEFC1A4-B030-9D56-6777-CB677FA60A69}"/>
              </a:ext>
            </a:extLst>
          </p:cNvPr>
          <p:cNvSpPr txBox="1">
            <a:spLocks/>
          </p:cNvSpPr>
          <p:nvPr/>
        </p:nvSpPr>
        <p:spPr>
          <a:xfrm>
            <a:off x="3359696" y="5013176"/>
            <a:ext cx="4224002" cy="9260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  <a:defRPr sz="1800" b="0" i="0" kern="1200">
                <a:solidFill>
                  <a:schemeClr val="bg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Alexander </a:t>
            </a:r>
            <a:r>
              <a:rPr lang="en-GB" b="1" dirty="0" err="1"/>
              <a:t>Kucksdorf</a:t>
            </a:r>
            <a:endParaRPr lang="en-GB" b="1" dirty="0"/>
          </a:p>
          <a:p>
            <a:r>
              <a:rPr lang="en-GB" b="1" dirty="0"/>
              <a:t>E-Mail: </a:t>
            </a:r>
            <a:r>
              <a:rPr lang="en-GB" b="1" dirty="0" err="1"/>
              <a:t>akucksdorf@it-economics.de</a:t>
            </a:r>
            <a:endParaRPr lang="en-GB" b="1" dirty="0"/>
          </a:p>
          <a:p>
            <a:r>
              <a:rPr lang="en-GB" b="1" dirty="0"/>
              <a:t>Phone: +49 151 4023 0063</a:t>
            </a:r>
          </a:p>
        </p:txBody>
      </p:sp>
    </p:spTree>
    <p:extLst>
      <p:ext uri="{BB962C8B-B14F-4D97-AF65-F5344CB8AC3E}">
        <p14:creationId xmlns:p14="http://schemas.microsoft.com/office/powerpoint/2010/main" val="2597860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A3BE5C8-A435-5345-A2F8-1BE32D778579}"/>
              </a:ext>
            </a:extLst>
          </p:cNvPr>
          <p:cNvSpPr txBox="1"/>
          <p:nvPr/>
        </p:nvSpPr>
        <p:spPr>
          <a:xfrm>
            <a:off x="12430125" y="-137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3"/>
              </a:buBlip>
            </a:pPr>
            <a:endParaRPr lang="en-DE" sz="160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B27510C-5457-E142-A32C-C0DBBA4E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361" y="468000"/>
            <a:ext cx="11521280" cy="873064"/>
          </a:xfrm>
        </p:spPr>
        <p:txBody>
          <a:bodyPr>
            <a:normAutofit/>
          </a:bodyPr>
          <a:lstStyle/>
          <a:p>
            <a:r>
              <a:rPr lang="en-GB" dirty="0"/>
              <a:t>Everywhere Components</a:t>
            </a:r>
          </a:p>
          <a:p>
            <a:pPr lvl="1"/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EC52E3-FD87-FC46-BE0B-0254F30955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246" y="1484784"/>
            <a:ext cx="8365129" cy="54006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247717A-3404-C23F-14F6-FC0DA03D6126}"/>
              </a:ext>
            </a:extLst>
          </p:cNvPr>
          <p:cNvGrpSpPr/>
          <p:nvPr/>
        </p:nvGrpSpPr>
        <p:grpSpPr>
          <a:xfrm>
            <a:off x="8616280" y="2276872"/>
            <a:ext cx="3418815" cy="3744416"/>
            <a:chOff x="8616280" y="2276872"/>
            <a:chExt cx="3418815" cy="374441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35F3C8B-D748-CA43-8CBB-AB00947B2A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143" t="53609" r="59857" b="12462"/>
            <a:stretch/>
          </p:blipFill>
          <p:spPr>
            <a:xfrm>
              <a:off x="8616280" y="2276872"/>
              <a:ext cx="3418815" cy="3744416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998DD71-D91F-FA49-B475-CE05EEB08A03}"/>
                </a:ext>
              </a:extLst>
            </p:cNvPr>
            <p:cNvSpPr/>
            <p:nvPr/>
          </p:nvSpPr>
          <p:spPr>
            <a:xfrm>
              <a:off x="8866742" y="2492896"/>
              <a:ext cx="2880320" cy="6120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7C88415-10C6-3D46-AD78-177E280709B1}"/>
                </a:ext>
              </a:extLst>
            </p:cNvPr>
            <p:cNvSpPr/>
            <p:nvPr/>
          </p:nvSpPr>
          <p:spPr>
            <a:xfrm>
              <a:off x="8866742" y="3212976"/>
              <a:ext cx="2880320" cy="2088232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CB85DC-5099-FA45-B429-F039EBE23980}"/>
                </a:ext>
              </a:extLst>
            </p:cNvPr>
            <p:cNvSpPr/>
            <p:nvPr/>
          </p:nvSpPr>
          <p:spPr>
            <a:xfrm>
              <a:off x="8794734" y="5373216"/>
              <a:ext cx="3024336" cy="504056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A0DC116-37AC-F742-AC83-314B49117B0A}"/>
                </a:ext>
              </a:extLst>
            </p:cNvPr>
            <p:cNvSpPr/>
            <p:nvPr/>
          </p:nvSpPr>
          <p:spPr>
            <a:xfrm>
              <a:off x="8722726" y="2348880"/>
              <a:ext cx="3168352" cy="36004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F37ACF-3641-DE4E-8D30-D7F6AC8937CA}"/>
                </a:ext>
              </a:extLst>
            </p:cNvPr>
            <p:cNvSpPr/>
            <p:nvPr/>
          </p:nvSpPr>
          <p:spPr>
            <a:xfrm>
              <a:off x="8846203" y="5445224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907DA12-0E92-D943-8978-1BF2F99536F8}"/>
                </a:ext>
              </a:extLst>
            </p:cNvPr>
            <p:cNvSpPr/>
            <p:nvPr/>
          </p:nvSpPr>
          <p:spPr>
            <a:xfrm>
              <a:off x="9373862" y="5445193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BEE8E25-AFB8-3049-88B0-9864799B6B6D}"/>
                </a:ext>
              </a:extLst>
            </p:cNvPr>
            <p:cNvSpPr/>
            <p:nvPr/>
          </p:nvSpPr>
          <p:spPr>
            <a:xfrm>
              <a:off x="9901521" y="5427222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07BFA2C-D56E-F74B-BE64-2F46C19CAB76}"/>
                </a:ext>
              </a:extLst>
            </p:cNvPr>
            <p:cNvSpPr/>
            <p:nvPr/>
          </p:nvSpPr>
          <p:spPr>
            <a:xfrm>
              <a:off x="10479716" y="5432446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1D3D118-0B19-624F-AE50-5BF7AE5E8ACF}"/>
                </a:ext>
              </a:extLst>
            </p:cNvPr>
            <p:cNvSpPr/>
            <p:nvPr/>
          </p:nvSpPr>
          <p:spPr>
            <a:xfrm>
              <a:off x="10959103" y="5427222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BC86F38-A6C9-FB4B-95FE-8C06E8347896}"/>
                </a:ext>
              </a:extLst>
            </p:cNvPr>
            <p:cNvSpPr/>
            <p:nvPr/>
          </p:nvSpPr>
          <p:spPr>
            <a:xfrm>
              <a:off x="8909947" y="4437112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7E86B5C-5748-E048-A35E-7C782ECF3065}"/>
                </a:ext>
              </a:extLst>
            </p:cNvPr>
            <p:cNvSpPr/>
            <p:nvPr/>
          </p:nvSpPr>
          <p:spPr>
            <a:xfrm>
              <a:off x="8909946" y="3842750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D024F1D-D9F7-BC47-9EF1-C9A57B13D6E3}"/>
                </a:ext>
              </a:extLst>
            </p:cNvPr>
            <p:cNvSpPr/>
            <p:nvPr/>
          </p:nvSpPr>
          <p:spPr>
            <a:xfrm>
              <a:off x="8909946" y="3248980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983AD50-6A79-C79A-29D2-4C49323B2357}"/>
                </a:ext>
              </a:extLst>
            </p:cNvPr>
            <p:cNvSpPr/>
            <p:nvPr/>
          </p:nvSpPr>
          <p:spPr>
            <a:xfrm>
              <a:off x="9282188" y="3266982"/>
              <a:ext cx="2358428" cy="575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FE0EEE1-7A4A-6DB5-8FA1-8D734672D79D}"/>
                </a:ext>
              </a:extLst>
            </p:cNvPr>
            <p:cNvSpPr/>
            <p:nvPr/>
          </p:nvSpPr>
          <p:spPr>
            <a:xfrm>
              <a:off x="9282188" y="3896756"/>
              <a:ext cx="2358428" cy="575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D0BAD7-DC45-2BA5-E5BA-1A04A6B0333C}"/>
                </a:ext>
              </a:extLst>
            </p:cNvPr>
            <p:cNvSpPr/>
            <p:nvPr/>
          </p:nvSpPr>
          <p:spPr>
            <a:xfrm>
              <a:off x="9271283" y="4526530"/>
              <a:ext cx="2358428" cy="70267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263791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Vorlage_ppt_2017_Stand_17-06-16">
  <a:themeElements>
    <a:clrScheme name="it-economics GmbH Farbwelt">
      <a:dk1>
        <a:srgbClr val="44697D"/>
      </a:dk1>
      <a:lt1>
        <a:srgbClr val="FFFFFF"/>
      </a:lt1>
      <a:dk2>
        <a:srgbClr val="8FA5B1"/>
      </a:dk2>
      <a:lt2>
        <a:srgbClr val="B4C3CB"/>
      </a:lt2>
      <a:accent1>
        <a:srgbClr val="DAE1E5"/>
      </a:accent1>
      <a:accent2>
        <a:srgbClr val="7D735F"/>
      </a:accent2>
      <a:accent3>
        <a:srgbClr val="B1ABA0"/>
      </a:accent3>
      <a:accent4>
        <a:srgbClr val="CCC8BF"/>
      </a:accent4>
      <a:accent5>
        <a:srgbClr val="DE8000"/>
      </a:accent5>
      <a:accent6>
        <a:srgbClr val="9DB572"/>
      </a:accent6>
      <a:hlink>
        <a:srgbClr val="44697D"/>
      </a:hlink>
      <a:folHlink>
        <a:srgbClr val="44697D"/>
      </a:folHlink>
    </a:clrScheme>
    <a:fontScheme name="it-economics">
      <a:majorFont>
        <a:latin typeface="Univers LT Std 57 Cn"/>
        <a:ea typeface=""/>
        <a:cs typeface=""/>
      </a:majorFont>
      <a:minorFont>
        <a:latin typeface="Univers LT Std 47 Cn L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noAutofit/>
      </a:bodyPr>
      <a:lstStyle>
        <a:defPPr marL="151200" indent="-151200">
          <a:buFontTx/>
          <a:buBlip>
            <a:blip xmlns:r="http://schemas.openxmlformats.org/officeDocument/2006/relationships" r:embed="rId1"/>
          </a:buBlip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act" id="{D3EB6A3A-B465-7D4E-87DD-AD9A6A6B6FE6}" vid="{E7ABD3A8-E5C2-2240-9308-E2DF84DF6E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3F5C01381B56409B79CCBBF1CD6638" ma:contentTypeVersion="10" ma:contentTypeDescription="Ein neues Dokument erstellen." ma:contentTypeScope="" ma:versionID="5b2e3515d9ddc2db59a89c3bb2127668">
  <xsd:schema xmlns:xsd="http://www.w3.org/2001/XMLSchema" xmlns:xs="http://www.w3.org/2001/XMLSchema" xmlns:p="http://schemas.microsoft.com/office/2006/metadata/properties" xmlns:ns2="ab24cf61-d0ba-4a2f-b997-e69195b56576" xmlns:ns3="82bf4a60-6352-403d-8037-4287a1db143f" targetNamespace="http://schemas.microsoft.com/office/2006/metadata/properties" ma:root="true" ma:fieldsID="33eca122f4249ac2952858664eac3aa0" ns2:_="" ns3:_="">
    <xsd:import namespace="ab24cf61-d0ba-4a2f-b997-e69195b56576"/>
    <xsd:import namespace="82bf4a60-6352-403d-8037-4287a1db14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4cf61-d0ba-4a2f-b997-e69195b565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bf4a60-6352-403d-8037-4287a1db143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BC05F5-4039-4874-97ED-6D7E73027E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24cf61-d0ba-4a2f-b997-e69195b56576"/>
    <ds:schemaRef ds:uri="82bf4a60-6352-403d-8037-4287a1db14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DB7759-4306-4B89-B2D4-FE4FA1E87EDF}">
  <ds:schemaRefs>
    <ds:schemaRef ds:uri="http://purl.org/dc/terms/"/>
    <ds:schemaRef ds:uri="ab24cf61-d0ba-4a2f-b997-e69195b56576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82bf4a60-6352-403d-8037-4287a1db143f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2C5FA24-8524-40B9-8AED-98A9724D41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_ppt_2017_Stand_17-06-16</Template>
  <TotalTime>19183</TotalTime>
  <Words>4891</Words>
  <Application>Microsoft Macintosh PowerPoint</Application>
  <PresentationFormat>Widescreen</PresentationFormat>
  <Paragraphs>1050</Paragraphs>
  <Slides>8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97" baseType="lpstr">
      <vt:lpstr>PingFangSC-Regular</vt:lpstr>
      <vt:lpstr>Arial</vt:lpstr>
      <vt:lpstr>Calibri</vt:lpstr>
      <vt:lpstr>Fira Code</vt:lpstr>
      <vt:lpstr>Menlo</vt:lpstr>
      <vt:lpstr>Roboto Light</vt:lpstr>
      <vt:lpstr>SourceCodePro</vt:lpstr>
      <vt:lpstr>Systemschrift Normal</vt:lpstr>
      <vt:lpstr>Times New Roman</vt:lpstr>
      <vt:lpstr>Univers LT Std 47 Cn Lt</vt:lpstr>
      <vt:lpstr>Univers LT Std 57 Cn</vt:lpstr>
      <vt:lpstr>UniversLTStd-Cn</vt:lpstr>
      <vt:lpstr>UniversLTStd-LightCn</vt:lpstr>
      <vt:lpstr>Vorlage_ppt_2017_Stand_17-06-16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Vladimir Daskalov</dc:creator>
  <cp:keywords/>
  <dc:description/>
  <cp:lastModifiedBy>Vladimir Daskalov</cp:lastModifiedBy>
  <cp:revision>421</cp:revision>
  <dcterms:created xsi:type="dcterms:W3CDTF">2022-02-22T21:47:43Z</dcterms:created>
  <dcterms:modified xsi:type="dcterms:W3CDTF">2023-08-24T10:13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3F5C01381B56409B79CCBBF1CD6638</vt:lpwstr>
  </property>
</Properties>
</file>